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4" r:id="rId4"/>
    <p:sldMasterId id="2147483925" r:id="rId5"/>
    <p:sldMasterId id="2147483947" r:id="rId6"/>
  </p:sldMasterIdLst>
  <p:notesMasterIdLst>
    <p:notesMasterId r:id="rId16"/>
  </p:notesMasterIdLst>
  <p:handoutMasterIdLst>
    <p:handoutMasterId r:id="rId17"/>
  </p:handoutMasterIdLst>
  <p:sldIdLst>
    <p:sldId id="4191" r:id="rId7"/>
    <p:sldId id="2147483283" r:id="rId8"/>
    <p:sldId id="2147483280" r:id="rId9"/>
    <p:sldId id="2147483251" r:id="rId10"/>
    <p:sldId id="280" r:id="rId11"/>
    <p:sldId id="319" r:id="rId12"/>
    <p:sldId id="261" r:id="rId13"/>
    <p:sldId id="2147483284" r:id="rId14"/>
    <p:sldId id="257" r:id="rId15"/>
  </p:sldIdLst>
  <p:sldSz cx="12192000" cy="6858000"/>
  <p:notesSz cx="6858000" cy="9144000"/>
  <p:embeddedFontLst>
    <p:embeddedFont>
      <p:font typeface="Arial Narrow" panose="020B0606020202030204" pitchFamily="34" charset="0"/>
      <p:regular r:id="rId18"/>
      <p:bold r:id="rId19"/>
      <p:italic r:id="rId20"/>
      <p:boldItalic r:id="rId21"/>
    </p:embeddedFont>
    <p:embeddedFont>
      <p:font typeface="Gilroy Medium" panose="00000600000000000000" charset="0"/>
      <p:regular r:id="rId22"/>
      <p:bold r:id="rId23"/>
    </p:embeddedFont>
    <p:embeddedFont>
      <p:font typeface="GT Pressura LCG Black" panose="020B060402020202020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264267-E6BC-72A8-016C-D36C03CD6D12}" name="Popowski, Nicole {PEP}" initials="PN{" userId="S::Nicole.Popowski@pepsico.com::61f71d42-331a-4ab7-9267-9fbf44eaf944" providerId="AD"/>
  <p188:author id="{57913871-DD69-0834-E5D3-07E0AE26C2B1}" name="Romano, Kelly {PEP}" initials="RK{" userId="S::Kelly.Romano@pepsico.com::d149f040-ccb0-4f54-a04e-732116e0ac40" providerId="AD"/>
  <p188:author id="{6B89F973-028C-BFDA-10D1-1F88A841357F}" name="Dominguez, Manuel {PEP}" initials="DM" userId="S::manuel.dominguez@pepsico.com::bbdbb548-75d2-4851-9814-27ae57cc6700" providerId="AD"/>
  <p188:author id="{C64DD88C-2E9A-E3ED-86B5-7D4C0461A7B2}" name="Masella, Elise {PEP}" initials="ME{" userId="S::Elise.Masella@pepsico.com::82f825f7-1737-422f-880c-fad5fcd4cfd4" providerId="AD"/>
  <p188:author id="{095F5DC6-5918-7F14-0D5A-16F4B2EFE275}" name="Dominguez, Manuel {PEP}" initials="" userId="S::Manuel.Dominguez@pepsico.com::bbdbb548-75d2-4851-9814-27ae57cc6700" providerId="AD"/>
  <p188:author id="{E7923AC8-8D47-E292-0395-8AC09EE152C0}" name="Cutler, Ian {PEP}" initials="CI" userId="S::ian.cutler@pepsico.com::85e2cef1-672a-4989-87a8-a96e9b4c5d6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Ferniz" initials="SF" lastIdx="13" clrIdx="0">
    <p:extLst>
      <p:ext uri="{19B8F6BF-5375-455C-9EA6-DF929625EA0E}">
        <p15:presenceInfo xmlns:p15="http://schemas.microsoft.com/office/powerpoint/2012/main" userId="Sarah Ferni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80CE"/>
    <a:srgbClr val="71A9E3"/>
    <a:srgbClr val="145798"/>
    <a:srgbClr val="954F07"/>
    <a:srgbClr val="C87307"/>
    <a:srgbClr val="71A8E3"/>
    <a:srgbClr val="EC9F0B"/>
    <a:srgbClr val="8DBF28"/>
    <a:srgbClr val="0F440D"/>
    <a:srgbClr val="5D91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582" autoAdjust="0"/>
  </p:normalViewPr>
  <p:slideViewPr>
    <p:cSldViewPr snapToGrid="0">
      <p:cViewPr varScale="1">
        <p:scale>
          <a:sx n="159" d="100"/>
          <a:sy n="159" d="100"/>
        </p:scale>
        <p:origin x="114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font" Target="fonts/font7.fntdata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font" Target="fonts/font6.fntdata"/><Relationship Id="rId28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font" Target="fonts/font2.fntdata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D55C4-E52F-4810-9BEF-96FA1E00A5BB}" type="datetimeFigureOut">
              <a:rPr lang="en-US" smtClean="0">
                <a:latin typeface="Gilroy Medium" panose="00000600000000000000" pitchFamily="50" charset="0"/>
              </a:rPr>
              <a:t>4/9/2026</a:t>
            </a:fld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B3237-2851-4DC9-9865-7658E90A74CA}" type="slidenum">
              <a:rPr lang="en-US" smtClean="0">
                <a:latin typeface="Gilroy Medium" panose="00000600000000000000" pitchFamily="50" charset="0"/>
              </a:rPr>
              <a:t>‹#›</a:t>
            </a:fld>
            <a:endParaRPr lang="en-US"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147730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619B3CA-2D0D-47C2-ADCA-6F431D6ECA53}" type="datetimeFigureOut">
              <a:rPr lang="en-US" smtClean="0"/>
              <a:pPr/>
              <a:t>4/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D834DAD-DF98-44E2-A25C-0E8DEB5DEE3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033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34DAD-DF98-44E2-A25C-0E8DEB5DEE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941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03941-08BD-96CF-CCE3-6C7D9390BA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899252-8B96-25EE-C686-B265442A64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CE334AA-D999-B3B2-A130-DF581C1D72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311DA2-B185-C300-B9D8-EA2DA5B2A5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42BBB5-7F6A-47AF-AB97-E4631653B0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50346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0EED4-7874-64DE-5A13-FCE2C67773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F43759-05B4-C5AB-BA49-E5EBE66413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67CDEB-ED7B-25BC-2926-2DD0265B58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519012-81BA-45B4-1691-D0EDD2C5DE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8965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=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23087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05152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D17A41-0924-42F6-93CC-664B3686E3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501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581E8B-FFAE-7194-68D1-74F83112AA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BD60455-B68D-3820-14C9-EA204F5115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0B99E5-AE32-1982-69E1-BBF6350CE2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dirty="0"/>
              <a:t>Add three week prior to delivery for artwork for custom signag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0977AA-4975-66AB-3605-EBEF0F1AB9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22445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61ECC8-9615-C62C-B3EE-C6A2698ECA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E83CE6-6757-DBEE-13F8-9D90D9F301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2D6CE1-DE94-B1EB-62D6-A23E005897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41B50C-18A4-5EC5-7394-5F840C7AD8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D17A41-0924-42F6-93CC-664B3686E3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8552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9880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3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3680CE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857952C-1F35-BE8C-235D-90ABB616A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961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-3829" y="4004441"/>
            <a:ext cx="12195829" cy="2853560"/>
          </a:xfrm>
          <a:prstGeom prst="rect">
            <a:avLst/>
          </a:prstGeom>
          <a:solidFill>
            <a:srgbClr val="3680CE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56FAC1-BD3B-4A39-AEB8-8B734D184E9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657614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A04216-DDEC-72B9-9E60-E714B7EF465A}"/>
              </a:ext>
            </a:extLst>
          </p:cNvPr>
          <p:cNvSpPr txBox="1"/>
          <p:nvPr userDrawn="1"/>
        </p:nvSpPr>
        <p:spPr>
          <a:xfrm>
            <a:off x="815546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D7BABE-A72A-AC8E-3D81-85920E16ACD6}"/>
              </a:ext>
            </a:extLst>
          </p:cNvPr>
          <p:cNvSpPr txBox="1"/>
          <p:nvPr userDrawn="1"/>
        </p:nvSpPr>
        <p:spPr>
          <a:xfrm>
            <a:off x="1099751" y="65120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5341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4800" y="3888828"/>
            <a:ext cx="3657600" cy="174521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794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FCA3879-DB25-6606-BE61-7468DA06E2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E6C5A6-EDAC-314F-5AE5-956433135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FB600BF-AFD2-4AD7-7C7D-AB04EDAF7D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C60848-68E6-C17F-C22D-EA1FF5F4B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50">
            <a:extLst>
              <a:ext uri="{FF2B5EF4-FFF2-40B4-BE49-F238E27FC236}">
                <a16:creationId xmlns:a16="http://schemas.microsoft.com/office/drawing/2014/main" id="{A479D373-550A-277C-9E29-4763D6EF3203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4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50">
            <a:extLst>
              <a:ext uri="{FF2B5EF4-FFF2-40B4-BE49-F238E27FC236}">
                <a16:creationId xmlns:a16="http://schemas.microsoft.com/office/drawing/2014/main" id="{E3D0CA9A-9DCA-285D-5947-D27336FE76BA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 flipH="1">
            <a:off x="42672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50">
            <a:extLst>
              <a:ext uri="{FF2B5EF4-FFF2-40B4-BE49-F238E27FC236}">
                <a16:creationId xmlns:a16="http://schemas.microsoft.com/office/drawing/2014/main" id="{E04B5877-BF81-42FF-F396-FA19ECC3ECD6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 flipH="1">
            <a:off x="82296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944892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-3829" y="4004441"/>
            <a:ext cx="12195829" cy="2853560"/>
          </a:xfrm>
          <a:prstGeom prst="rect">
            <a:avLst/>
          </a:prstGeom>
          <a:solidFill>
            <a:srgbClr val="3680CE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56FAC1-BD3B-4A39-AEB8-8B734D184E9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272249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EC9F0B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F1A0E6E-809F-CAB8-ADF7-401A2493B1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937293B6-CB6D-C378-7EF0-4F4D7D08544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8223AB-CFD2-1D96-874F-CF2C8B3589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771904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5D910D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DF5B2C0-2DAF-22FD-0941-C1BABC3CC9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6815E2D-A38A-A593-60AB-494622D2E5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E29C9E-C5B3-BE30-C585-F6537223A80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9312158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6950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ek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1366CA1-4CC7-BF24-ABE7-AEE5361EF3CA}"/>
              </a:ext>
            </a:extLst>
          </p:cNvPr>
          <p:cNvSpPr/>
          <p:nvPr userDrawn="1"/>
        </p:nvSpPr>
        <p:spPr>
          <a:xfrm>
            <a:off x="3047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9882350-35F7-F137-A300-3154BB5E34FA}"/>
              </a:ext>
            </a:extLst>
          </p:cNvPr>
          <p:cNvSpPr/>
          <p:nvPr userDrawn="1"/>
        </p:nvSpPr>
        <p:spPr>
          <a:xfrm>
            <a:off x="32765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30C34CE-E743-C5CE-0566-A6348A458DCB}"/>
              </a:ext>
            </a:extLst>
          </p:cNvPr>
          <p:cNvSpPr/>
          <p:nvPr userDrawn="1"/>
        </p:nvSpPr>
        <p:spPr>
          <a:xfrm>
            <a:off x="62483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ED9F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8D99EF-EB86-548C-11F3-0BEFFAB42FFD}"/>
              </a:ext>
            </a:extLst>
          </p:cNvPr>
          <p:cNvSpPr/>
          <p:nvPr userDrawn="1"/>
        </p:nvSpPr>
        <p:spPr>
          <a:xfrm>
            <a:off x="9207753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F3872A-5020-9E81-994E-3B78940FFA84}"/>
              </a:ext>
            </a:extLst>
          </p:cNvPr>
          <p:cNvSpPr/>
          <p:nvPr userDrawn="1"/>
        </p:nvSpPr>
        <p:spPr>
          <a:xfrm>
            <a:off x="17906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CD08363-7BDE-1994-9A0F-8B8835C9D39B}"/>
              </a:ext>
            </a:extLst>
          </p:cNvPr>
          <p:cNvSpPr/>
          <p:nvPr userDrawn="1"/>
        </p:nvSpPr>
        <p:spPr>
          <a:xfrm>
            <a:off x="4762496" y="3828105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14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8DE32D-DAC0-28AA-F629-6530651BAC1C}"/>
              </a:ext>
            </a:extLst>
          </p:cNvPr>
          <p:cNvSpPr/>
          <p:nvPr userDrawn="1"/>
        </p:nvSpPr>
        <p:spPr>
          <a:xfrm>
            <a:off x="77342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EE6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E0FB13C-B3D3-CC89-8B22-4D3DC55EDD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336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35823ED-48FE-341A-AB02-4ADE49610B9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7336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B28C6E4-D43D-4AAD-AA6C-BD9885E32F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1764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BF7D7BD-778A-4E3E-D4B4-013993C4A83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31764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25BA7AF2-63E2-9747-5CF2-6EE0AFC33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5681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2E02903-004F-C3F0-21E5-8C7F3FC5BC1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395681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316079D-17AC-A4EE-5AF4-ABD7EE1435B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72738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A73F0F4-6102-FBB6-F8BD-E76801D5BE4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72738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8CBEB1-C473-BA68-682F-E25666C73B2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50075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C9E0F917-776A-5630-408D-AE759278995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50075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1C6F05D-EDC3-09AE-0D3B-824642A38F7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15037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0B2FA8DC-9809-2D57-EDF3-4E92723CBC1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915037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BE6E11F-D789-FD72-BCD1-6D4D6CDEB73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879999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1E8815AD-159B-3574-EEB3-46C58943500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879999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71688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hoto/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6"/>
            <a:ext cx="3634250" cy="364180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4247FAE-F3BC-A7B3-E9DB-100FEF39B3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88117" y="0"/>
            <a:ext cx="7303883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FA5B9A31-47DC-482D-ABBA-D2E3E87CF5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800" y="7248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3C471A95-A226-5D96-1264-63E47463E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800" y="2106461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A2D0DDB-D0DD-0619-593D-81C91863F7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800" y="34823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DB128B8D-4433-B2D3-8692-380FB8447E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800" y="4806292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07E4918-859A-C015-91FC-7468161E3D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7248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rgbClr val="2B660F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58279B1-5F88-9920-6B86-FF48038CE1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106461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rgbClr val="2B660F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0E99209E-3FB0-B917-35E1-04FED0526B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4823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rgbClr val="2B660F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02189042-D8A9-0154-C2F2-0B0CED24A6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4806292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rgbClr val="2B660F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750607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5"/>
            <a:ext cx="5900605" cy="365125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3624408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5C1F92D-6FE9-8836-F453-891297070CFB}"/>
              </a:ext>
            </a:extLst>
          </p:cNvPr>
          <p:cNvGrpSpPr/>
          <p:nvPr userDrawn="1"/>
        </p:nvGrpSpPr>
        <p:grpSpPr>
          <a:xfrm>
            <a:off x="6074697" y="1219200"/>
            <a:ext cx="5782355" cy="4373770"/>
            <a:chOff x="1549047" y="1642531"/>
            <a:chExt cx="5782355" cy="4373770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317D88F-96E7-4AD7-BD83-7A22337F8FFC}"/>
                </a:ext>
              </a:extLst>
            </p:cNvPr>
            <p:cNvSpPr/>
            <p:nvPr/>
          </p:nvSpPr>
          <p:spPr>
            <a:xfrm>
              <a:off x="1679751" y="1775876"/>
              <a:ext cx="5511450" cy="4098849"/>
            </a:xfrm>
            <a:prstGeom prst="roundRect">
              <a:avLst>
                <a:gd name="adj" fmla="val 3589"/>
              </a:avLst>
            </a:prstGeom>
            <a:solidFill>
              <a:srgbClr val="8DBE28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0" name="Straight Connector 29">
              <a:extLst>
                <a:ext uri="{FF2B5EF4-FFF2-40B4-BE49-F238E27FC236}">
                  <a16:creationId xmlns:a16="http://schemas.microsoft.com/office/drawing/2014/main" id="{145318AE-6408-4053-8034-1E9D1CAEE9FD}"/>
                </a:ext>
              </a:extLst>
            </p:cNvPr>
            <p:cNvSpPr/>
            <p:nvPr/>
          </p:nvSpPr>
          <p:spPr>
            <a:xfrm>
              <a:off x="4465935" y="1712631"/>
              <a:ext cx="0" cy="4208827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3" name="Straight Connector 32">
              <a:extLst>
                <a:ext uri="{FF2B5EF4-FFF2-40B4-BE49-F238E27FC236}">
                  <a16:creationId xmlns:a16="http://schemas.microsoft.com/office/drawing/2014/main" id="{00A0533C-44E6-4F69-86FF-781C7ABC43CF}"/>
                </a:ext>
              </a:extLst>
            </p:cNvPr>
            <p:cNvSpPr/>
            <p:nvPr/>
          </p:nvSpPr>
          <p:spPr>
            <a:xfrm flipH="1">
              <a:off x="1619147" y="3825301"/>
              <a:ext cx="5572054" cy="0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1C9B0DB-F070-4AA7-B572-F133C208612B}"/>
                </a:ext>
              </a:extLst>
            </p:cNvPr>
            <p:cNvSpPr/>
            <p:nvPr/>
          </p:nvSpPr>
          <p:spPr>
            <a:xfrm>
              <a:off x="4384305" y="1642531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0"/>
                  </a:moveTo>
                  <a:lnTo>
                    <a:pt x="0" y="226"/>
                  </a:lnTo>
                  <a:lnTo>
                    <a:pt x="262" y="226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67529EF-0A17-43D4-A9BD-2D0E4264C893}"/>
                </a:ext>
              </a:extLst>
            </p:cNvPr>
            <p:cNvSpPr/>
            <p:nvPr/>
          </p:nvSpPr>
          <p:spPr>
            <a:xfrm>
              <a:off x="7191201" y="3744296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226" y="130"/>
                  </a:moveTo>
                  <a:lnTo>
                    <a:pt x="0" y="0"/>
                  </a:lnTo>
                  <a:lnTo>
                    <a:pt x="0" y="261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725938-EC3E-44B4-9EB5-41DD24B79310}"/>
                </a:ext>
              </a:extLst>
            </p:cNvPr>
            <p:cNvSpPr/>
            <p:nvPr/>
          </p:nvSpPr>
          <p:spPr>
            <a:xfrm>
              <a:off x="4384305" y="5876100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226"/>
                  </a:move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2C6845F-090B-40B0-A362-7A15965D38E0}"/>
                </a:ext>
              </a:extLst>
            </p:cNvPr>
            <p:cNvSpPr/>
            <p:nvPr/>
          </p:nvSpPr>
          <p:spPr>
            <a:xfrm>
              <a:off x="1549047" y="3759251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0" y="130"/>
                  </a:moveTo>
                  <a:lnTo>
                    <a:pt x="226" y="261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</p:grp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4EDABC-D71B-7C1F-8A30-770BAE0FC7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76182" y="5768854"/>
            <a:ext cx="456988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39B2A47-934D-5374-A0F4-C07FE9977E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3754620" y="3223456"/>
            <a:ext cx="410694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91AD4326-F4E9-9C47-2DA9-4993909B6E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401" y="1635778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E1810209-D8A6-FD38-26E5-67C424E5E7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91272" y="1635778"/>
            <a:ext cx="2725580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F83BD9B-E629-9B75-7C70-7525AED611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540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3E116D7F-5F53-06D7-CE87-23C28CF9057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9127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7C12A7B-9EF8-AEDF-2575-EA5DA7BEF6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6267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4B65FD40-169F-F326-47E8-1432DD48D5E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1824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4FA2F5BF-753D-6582-5F26-C36630AB82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6267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8D063A49-5C1A-306D-511F-8662285612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824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6288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635876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7" y="5768975"/>
            <a:ext cx="6358762" cy="365125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635876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516158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rgbClr val="2B660F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rgbClr val="2B660F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CCA079-F015-9D0B-435B-8B533B1E528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967728" y="248594"/>
            <a:ext cx="4919472" cy="58855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8909429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EC9F0B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F1A0E6E-809F-CAB8-ADF7-401A2493B1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937293B6-CB6D-C378-7EF0-4F4D7D08544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8223AB-CFD2-1D96-874F-CF2C8B3589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032038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77A123-21DA-40CE-B431-92CC45964013}"/>
              </a:ext>
            </a:extLst>
          </p:cNvPr>
          <p:cNvSpPr/>
          <p:nvPr userDrawn="1"/>
        </p:nvSpPr>
        <p:spPr>
          <a:xfrm>
            <a:off x="304796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D910D"/>
              </a:solidFill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41FAAD-7AC8-731A-123A-BE82562493F6}"/>
              </a:ext>
            </a:extLst>
          </p:cNvPr>
          <p:cNvSpPr/>
          <p:nvPr userDrawn="1"/>
        </p:nvSpPr>
        <p:spPr>
          <a:xfrm>
            <a:off x="304796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AC9BC4-68A6-9698-3277-84C08E3A4FE3}"/>
              </a:ext>
            </a:extLst>
          </p:cNvPr>
          <p:cNvSpPr/>
          <p:nvPr userDrawn="1"/>
        </p:nvSpPr>
        <p:spPr>
          <a:xfrm>
            <a:off x="304796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8BE099A-50C1-905E-4C39-DB7B4D4FBE6B}"/>
              </a:ext>
            </a:extLst>
          </p:cNvPr>
          <p:cNvSpPr/>
          <p:nvPr userDrawn="1"/>
        </p:nvSpPr>
        <p:spPr>
          <a:xfrm>
            <a:off x="6548624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4FBEE3E-9113-6772-A9D0-E842B248D267}"/>
              </a:ext>
            </a:extLst>
          </p:cNvPr>
          <p:cNvSpPr/>
          <p:nvPr userDrawn="1"/>
        </p:nvSpPr>
        <p:spPr>
          <a:xfrm>
            <a:off x="6548624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F44D307-3B59-B3A7-B673-5E599BB053D3}"/>
              </a:ext>
            </a:extLst>
          </p:cNvPr>
          <p:cNvSpPr/>
          <p:nvPr userDrawn="1"/>
        </p:nvSpPr>
        <p:spPr>
          <a:xfrm>
            <a:off x="6548624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E352DA-FF04-36BF-CDB8-9D168B369D23}"/>
              </a:ext>
            </a:extLst>
          </p:cNvPr>
          <p:cNvCxnSpPr/>
          <p:nvPr userDrawn="1"/>
        </p:nvCxnSpPr>
        <p:spPr>
          <a:xfrm>
            <a:off x="5822731" y="2144110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08CA50-6DC2-DB93-2A7F-967901CC7BFC}"/>
              </a:ext>
            </a:extLst>
          </p:cNvPr>
          <p:cNvCxnSpPr>
            <a:cxnSpLocks/>
          </p:cNvCxnSpPr>
          <p:nvPr userDrawn="1"/>
        </p:nvCxnSpPr>
        <p:spPr>
          <a:xfrm>
            <a:off x="5822731" y="3676648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5482F3-BE7A-6063-3F74-E7CFE37C5D68}"/>
              </a:ext>
            </a:extLst>
          </p:cNvPr>
          <p:cNvCxnSpPr>
            <a:cxnSpLocks/>
          </p:cNvCxnSpPr>
          <p:nvPr userDrawn="1"/>
        </p:nvCxnSpPr>
        <p:spPr>
          <a:xfrm>
            <a:off x="5822731" y="5183186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61755C0-BE8F-2307-55C1-F1CF08EC24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438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9E63985-202E-44C4-FEF8-9D09D8A725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438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4A33675-CF40-5496-4117-515D5D08FE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438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CA7CEAA-CD1C-AE53-D999-47F849F9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26621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57D78F3C-11F0-1F5A-39DD-CA19C0DCE5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26621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7DD4C1D-1F57-6816-8675-584DA58C24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6621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4515364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i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7" name="Table Placeholder 86">
            <a:extLst>
              <a:ext uri="{FF2B5EF4-FFF2-40B4-BE49-F238E27FC236}">
                <a16:creationId xmlns:a16="http://schemas.microsoft.com/office/drawing/2014/main" id="{1158F129-D433-505A-834D-F1C3765D3DB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04800" y="1219200"/>
            <a:ext cx="11582400" cy="43815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8339826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F907908-FD27-6EBB-EF57-3A8A63BEA8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21142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36">
            <a:extLst>
              <a:ext uri="{FF2B5EF4-FFF2-40B4-BE49-F238E27FC236}">
                <a16:creationId xmlns:a16="http://schemas.microsoft.com/office/drawing/2014/main" id="{1F8816AA-0C4B-5FCB-874A-6B1A61B8F2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16024" y="1661854"/>
            <a:ext cx="1137122" cy="1139753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6">
            <a:extLst>
              <a:ext uri="{FF2B5EF4-FFF2-40B4-BE49-F238E27FC236}">
                <a16:creationId xmlns:a16="http://schemas.microsoft.com/office/drawing/2014/main" id="{605A5A87-0D4E-520E-B859-0E375CDF52D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73364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6">
            <a:extLst>
              <a:ext uri="{FF2B5EF4-FFF2-40B4-BE49-F238E27FC236}">
                <a16:creationId xmlns:a16="http://schemas.microsoft.com/office/drawing/2014/main" id="{093DCEF5-69FD-9757-09A8-261C134734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27438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6">
            <a:extLst>
              <a:ext uri="{FF2B5EF4-FFF2-40B4-BE49-F238E27FC236}">
                <a16:creationId xmlns:a16="http://schemas.microsoft.com/office/drawing/2014/main" id="{A5520BD3-FC13-0F18-FBD0-1F903A2423D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781512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6">
            <a:extLst>
              <a:ext uri="{FF2B5EF4-FFF2-40B4-BE49-F238E27FC236}">
                <a16:creationId xmlns:a16="http://schemas.microsoft.com/office/drawing/2014/main" id="{7E748CC5-F80E-F45D-8C3A-966D944F439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042120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531D2E60-3E17-7047-42B5-498FEE3EB36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9740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1">
            <a:extLst>
              <a:ext uri="{FF2B5EF4-FFF2-40B4-BE49-F238E27FC236}">
                <a16:creationId xmlns:a16="http://schemas.microsoft.com/office/drawing/2014/main" id="{FD48FB29-192A-57E7-6DEA-AB4C616761F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1154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rgbClr val="2B660F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rgbClr val="2B660F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691445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EE6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  <a:noFill/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5D910D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ED9F0A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EE6C26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104D2EB8-360F-1512-645B-A1B5AE954F2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59740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2B660F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62716F3F-8545-C3AD-DE74-223356DA57D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71154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rgbClr val="3476C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9D9F75A-F491-F816-6076-836525B860C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688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A7E14FC-7151-E0BE-7AFD-D2E2D62E77B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59740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65E48B52-9006-142D-7F0F-E7718BFCB96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11201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1B992765-5469-81A6-394B-1D35C789F82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6690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4C86F0EB-4936-76A8-9E93-08E6C3DDDF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22617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ED9F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824D7A2-0A2F-B7D0-A97A-A422D087D5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20843" y="3119438"/>
            <a:ext cx="2045441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1369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70">
            <a:extLst>
              <a:ext uri="{FF2B5EF4-FFF2-40B4-BE49-F238E27FC236}">
                <a16:creationId xmlns:a16="http://schemas.microsoft.com/office/drawing/2014/main" id="{D5EE4931-6768-D7C6-B027-6E20839491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67053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EE6D2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5" name="Freeform 70">
            <a:extLst>
              <a:ext uri="{FF2B5EF4-FFF2-40B4-BE49-F238E27FC236}">
                <a16:creationId xmlns:a16="http://schemas.microsoft.com/office/drawing/2014/main" id="{5C7026B2-F8D8-FAB2-1088-B31F96540B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50804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3477C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4" name="Freeform 70">
            <a:extLst>
              <a:ext uri="{FF2B5EF4-FFF2-40B4-BE49-F238E27FC236}">
                <a16:creationId xmlns:a16="http://schemas.microsoft.com/office/drawing/2014/main" id="{5186F264-49D3-4090-823A-02893CD72C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731250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ED9F0A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reeform 70">
            <a:extLst>
              <a:ext uri="{FF2B5EF4-FFF2-40B4-BE49-F238E27FC236}">
                <a16:creationId xmlns:a16="http://schemas.microsoft.com/office/drawing/2014/main" id="{AC3006C4-BF8C-8B98-57E0-4C75052BF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7636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5D910D"/>
          </a:solidFill>
          <a:ln>
            <a:solidFill>
              <a:srgbClr val="EC9F0B"/>
            </a:solidFill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C4BDBAB-14DB-197F-8EA1-A4026CDC5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0263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C3DFAD5D-F262-E524-900F-B81C0FA826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48324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8F99D252-4EB7-03DB-8C58-53B69DD87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9251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A2DE66A0-1FC8-776D-2462-D49E64DC1A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01852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Picture Placeholder 36">
            <a:extLst>
              <a:ext uri="{FF2B5EF4-FFF2-40B4-BE49-F238E27FC236}">
                <a16:creationId xmlns:a16="http://schemas.microsoft.com/office/drawing/2014/main" id="{D08A5CBB-3497-CA70-D127-FA55FDAC51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49240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29B0CE01-1AEF-7DC2-5A09-00BFA065DFED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6282073" y="-2841222"/>
            <a:ext cx="12700" cy="9049417"/>
          </a:xfrm>
          <a:prstGeom prst="bentConnector3">
            <a:avLst>
              <a:gd name="adj1" fmla="val 1800000"/>
            </a:avLst>
          </a:prstGeom>
          <a:ln w="22225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058BB28F-B3C4-241F-51D9-6B9A6C5D832E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6294244" y="1124443"/>
            <a:ext cx="12700" cy="9049417"/>
          </a:xfrm>
          <a:prstGeom prst="bentConnector3">
            <a:avLst>
              <a:gd name="adj1" fmla="val 2769236"/>
            </a:avLst>
          </a:prstGeom>
          <a:ln w="22225" cap="rnd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36">
            <a:extLst>
              <a:ext uri="{FF2B5EF4-FFF2-40B4-BE49-F238E27FC236}">
                <a16:creationId xmlns:a16="http://schemas.microsoft.com/office/drawing/2014/main" id="{9713158F-8810-66D4-768E-CBBC238CE34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6784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6">
            <a:extLst>
              <a:ext uri="{FF2B5EF4-FFF2-40B4-BE49-F238E27FC236}">
                <a16:creationId xmlns:a16="http://schemas.microsoft.com/office/drawing/2014/main" id="{2396E205-D7EC-5B8B-C662-D776223185C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5736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6">
            <a:extLst>
              <a:ext uri="{FF2B5EF4-FFF2-40B4-BE49-F238E27FC236}">
                <a16:creationId xmlns:a16="http://schemas.microsoft.com/office/drawing/2014/main" id="{292F6024-F61C-4204-37DB-DAD42342B0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43280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8BF3F9C-F0C7-4109-DB00-AF74113D61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0898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5D910D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37CBEA-5986-8685-64C5-183A3630D1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95452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ED9F0A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075EE09-9833-7B6A-B2A7-B69759074A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20006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3476C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7D74A55F-30E7-13F2-182C-700DAD28FC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30492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EE6C26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C5FE2C-6563-2395-ECAC-48A9F9F30DCE}"/>
              </a:ext>
            </a:extLst>
          </p:cNvPr>
          <p:cNvSpPr txBox="1"/>
          <p:nvPr userDrawn="1"/>
        </p:nvSpPr>
        <p:spPr>
          <a:xfrm>
            <a:off x="766119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78127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+ Copy - Dr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8" name="Chart Placeholder 10">
            <a:extLst>
              <a:ext uri="{FF2B5EF4-FFF2-40B4-BE49-F238E27FC236}">
                <a16:creationId xmlns:a16="http://schemas.microsoft.com/office/drawing/2014/main" id="{36135DED-36D8-99A2-BEEE-C339F63E6A0A}"/>
              </a:ext>
            </a:extLst>
          </p:cNvPr>
          <p:cNvSpPr>
            <a:spLocks noGrp="1"/>
          </p:cNvSpPr>
          <p:nvPr>
            <p:ph type="chart" sz="quarter" idx="49"/>
          </p:nvPr>
        </p:nvSpPr>
        <p:spPr>
          <a:xfrm>
            <a:off x="304796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C648F1-B735-FA9C-BE4E-ED579776AE4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4800" y="4419601"/>
            <a:ext cx="3657584" cy="1349374"/>
          </a:xfrm>
          <a:solidFill>
            <a:srgbClr val="5D910D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91085A7-EBBF-EF8B-5149-D4D78AF6BD7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267186" y="4419601"/>
            <a:ext cx="3657613" cy="1349374"/>
          </a:xfrm>
          <a:solidFill>
            <a:srgbClr val="5D910D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CF2C88-E784-B887-29C6-C86ABDAE698A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229600" y="4419601"/>
            <a:ext cx="3657595" cy="1349374"/>
          </a:xfrm>
          <a:solidFill>
            <a:srgbClr val="5D910D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26CFC927-54B7-C5B7-E60C-38D6EE901D32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4258242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10">
            <a:extLst>
              <a:ext uri="{FF2B5EF4-FFF2-40B4-BE49-F238E27FC236}">
                <a16:creationId xmlns:a16="http://schemas.microsoft.com/office/drawing/2014/main" id="{E65CED6F-0B77-30C6-E22C-B8883C7FCB67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29600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CAB205B-7C1F-D7A8-3195-63BC12963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CB2AD6C-5A9B-8507-463D-FF555734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06643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026F0-9A71-4943-65F5-E58B0C965B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84C1C78-E80E-CE37-55BF-58BA7EFEC2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F3F8FA-B30E-7AC5-CF2D-2A2C4C6FC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3137B60-E4D6-4FD2-452F-AD9D3FECC74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2030FF7A-E0AE-C652-5648-E29D0838184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C63A6B7-9DBF-037C-DD66-D4DBFC1C28E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C4DBECC-B53C-2396-C7B9-9A2426CCBF9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F238CD9-CBB1-200B-EEB7-AFFDC9E7C8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AC83664-26A4-BA40-BB5D-4F5C9AF474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812367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83D448A-6F6D-AC3B-84E0-08CFA264E6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BB5861-B329-94C3-77C3-73ACFD6B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0783CDD-F837-985F-76FF-3AB1E77A7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97ACC2D7-BA04-CC20-035A-4772F0350B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5F31268-C508-3A95-9A32-51868208C0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FE2062E-A5C1-AAEA-E6C1-24379AAE24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D994C4-6938-6D1F-0427-0B49992B19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B57E41C-690C-87FE-F584-1CE0ECBACCF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A951E57E-B01C-4174-8B55-EE0BDDF568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B75A417-2475-713F-DF45-707F7C024F0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08544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C242FB5-CA88-5E19-554B-3FD70267B219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0F440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DC08E4-2FCD-7E6B-9E00-26ABFC93A4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847AB5-08EA-07FD-0B81-21C938719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E70F598-C502-C221-1607-85AB67ABC5F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8770D10-DB1B-82BC-4773-84D65D9AB0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3018F0D-82E2-3CE3-117E-EA35207570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6D03C6E-A2E1-A64B-59C5-392BB03CC1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5D910D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5D910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5D910D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5D910D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5D910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B86542C-5E5D-6CE9-9E99-34153337B8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114FD4-D5F5-3D03-6669-3F48F8814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892F1AEB-8046-A2D4-30CA-7197BC53E8B3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6CD31BC9-DEED-705E-596F-90F3784F50F8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A59ABE3-4718-4CF9-913B-381023AB3DF7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A0F92C-6587-9C26-0375-0E086FC9C6AA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6888120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B4A85-6C17-6FD1-87B6-ADE96538063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2CD9F6-CDC3-72E7-E238-D8C4FE2D9181}"/>
              </a:ext>
            </a:extLst>
          </p:cNvPr>
          <p:cNvSpPr txBox="1"/>
          <p:nvPr userDrawn="1"/>
        </p:nvSpPr>
        <p:spPr>
          <a:xfrm>
            <a:off x="11446884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E077E3-40E7-E1C6-9556-60CBF8A93C79}"/>
              </a:ext>
            </a:extLst>
          </p:cNvPr>
          <p:cNvSpPr txBox="1"/>
          <p:nvPr userDrawn="1"/>
        </p:nvSpPr>
        <p:spPr>
          <a:xfrm>
            <a:off x="806116" y="65572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854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5D910D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DF5B2C0-2DAF-22FD-0941-C1BABC3CC9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6815E2D-A38A-A593-60AB-494622D2E5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E29C9E-C5B3-BE30-C585-F6537223A80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4997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8BBB28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</a:p>
          <a:p>
            <a:pPr lvl="0"/>
            <a:r>
              <a:rPr lang="en-US" dirty="0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2B660F"/>
                </a:solidFill>
                <a:latin typeface="+mn-lt"/>
              </a:defRPr>
            </a:lvl1pPr>
            <a:lvl2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rgbClr val="2B660F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rgbClr val="2B660F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rgbClr val="2B660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297546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232498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buClr>
                <a:srgbClr val="2B660F"/>
              </a:buClr>
              <a:defRPr sz="1400">
                <a:solidFill>
                  <a:srgbClr val="2B660F"/>
                </a:solidFill>
                <a:latin typeface="+mn-lt"/>
              </a:defRPr>
            </a:lvl1pPr>
            <a:lvl2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2pPr>
            <a:lvl3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3pPr>
            <a:lvl4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4pPr>
            <a:lvl5pPr>
              <a:buClr>
                <a:srgbClr val="2B660F"/>
              </a:buClr>
              <a:defRPr>
                <a:solidFill>
                  <a:srgbClr val="2B660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197277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6684525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D493E6C-673E-8ADB-07B5-8A9A583E28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0E534B-1328-9573-C510-DF01837DD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B745233-8242-6501-BDD1-6A066F19F8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716640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EE6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DF40BA9-9DA8-1704-98B3-11192E6394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171AAEC-79CE-8340-6FC6-574C7C43A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A060F503-A312-5007-5FB9-D49F373B4C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2AA78E-5B79-F7E2-9960-5B1CF56F07B9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3475700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-T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ABE5B3-470A-4DEB-9F72-3889582A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269740"/>
            <a:ext cx="5187687" cy="4009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800" y="5768975"/>
            <a:ext cx="518769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0"/>
            <a:ext cx="5187691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 sz="12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33EA97-DEBE-C07E-0A6E-2C52FBDC8BF2}"/>
              </a:ext>
            </a:extLst>
          </p:cNvPr>
          <p:cNvSpPr/>
          <p:nvPr userDrawn="1"/>
        </p:nvSpPr>
        <p:spPr>
          <a:xfrm>
            <a:off x="6095998" y="0"/>
            <a:ext cx="6095999" cy="6858000"/>
          </a:xfrm>
          <a:prstGeom prst="rect">
            <a:avLst/>
          </a:prstGeom>
          <a:solidFill>
            <a:srgbClr val="8BBB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DE32CAC8-7CBB-93A4-FE78-B76DE7A0515E}"/>
              </a:ext>
            </a:extLst>
          </p:cNvPr>
          <p:cNvSpPr txBox="1">
            <a:spLocks/>
          </p:cNvSpPr>
          <p:nvPr userDrawn="1"/>
        </p:nvSpPr>
        <p:spPr>
          <a:xfrm>
            <a:off x="6400797" y="5768975"/>
            <a:ext cx="5486405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DDCEEA0-CC92-ADFC-3AE4-D23CA67105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0794" y="1219200"/>
            <a:ext cx="5187689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200">
                <a:solidFill>
                  <a:schemeClr val="bg1"/>
                </a:solidFill>
                <a:latin typeface="+mn-lt"/>
              </a:defRPr>
            </a:lvl4pPr>
            <a:lvl5pP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riangle 22">
            <a:extLst>
              <a:ext uri="{FF2B5EF4-FFF2-40B4-BE49-F238E27FC236}">
                <a16:creationId xmlns:a16="http://schemas.microsoft.com/office/drawing/2014/main" id="{F30ADE9A-4C5E-2D90-A385-B666A1B8DB8E}"/>
              </a:ext>
            </a:extLst>
          </p:cNvPr>
          <p:cNvSpPr/>
          <p:nvPr userDrawn="1"/>
        </p:nvSpPr>
        <p:spPr>
          <a:xfrm rot="5400000">
            <a:off x="5670305" y="3257223"/>
            <a:ext cx="851390" cy="376122"/>
          </a:xfrm>
          <a:prstGeom prst="triangle">
            <a:avLst>
              <a:gd name="adj" fmla="val 50766"/>
            </a:avLst>
          </a:prstGeom>
          <a:solidFill>
            <a:srgbClr val="2B660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FF21BC3-6CCA-C456-3B0A-6B16ED2F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794" y="199945"/>
            <a:ext cx="5187690" cy="429397"/>
          </a:xfrm>
        </p:spPr>
        <p:txBody>
          <a:bodyPr/>
          <a:lstStyle>
            <a:lvl1pPr>
              <a:defRPr lang="en-US" sz="3200" b="1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0261DA-335E-CD8E-DD2C-DA8B5FFADE6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622414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F52B395-E324-C350-A724-74D5490A0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BC1DA6A-7A47-6758-B9D8-709144560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50871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rgbClr val="2B660F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797133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2DBE87-4405-F3CD-9E1A-0AB2F0FA1A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688" y="1219200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rgbClr val="8DBE28"/>
                </a:solidFill>
                <a:latin typeface="+mn-lt"/>
              </a:defRPr>
            </a:lvl2pPr>
          </a:lstStyle>
          <a:p>
            <a:pPr lvl="1"/>
            <a:r>
              <a:rPr lang="en-US" dirty="0"/>
              <a:t>#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280F5E-74CC-98D2-7A49-093D2CF6B2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688" y="2574888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rgbClr val="8DBE28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75DAA2E-1A7B-0209-4979-AE7C94A036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1688" y="3930576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rgbClr val="8DBE28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D78311-4CC6-636F-837D-EEA883F21D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338" y="1219200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B441E31-BF1D-AA0C-C5FB-DF20E29DB5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1338" y="2574888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F78DB37-E4D6-9295-325E-6FFD2BE7F7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1338" y="3930576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5447B70-0D32-5005-C25E-A71D7563D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8E49524-CA80-7F34-D4E5-CC7E4BC57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8438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890397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74AD4FF-798E-DDD9-414C-962521CD9A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9028C9D-C44D-C775-287E-01E9AE906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185739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48399" y="248594"/>
            <a:ext cx="5638802" cy="53902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47B98CD-AC1E-E6C0-C7B4-1B8FD18FCA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56388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7D8C6F-44C5-DAF3-23C9-0323B4C1B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48594"/>
            <a:ext cx="5638800" cy="475306"/>
          </a:xfrm>
        </p:spPr>
        <p:txBody>
          <a:bodyPr anchor="t" anchorCtr="0"/>
          <a:lstStyle/>
          <a:p>
            <a:r>
              <a:rPr lang="en-US" dirty="0"/>
              <a:t>Click to title</a:t>
            </a:r>
          </a:p>
        </p:txBody>
      </p:sp>
    </p:spTree>
    <p:extLst>
      <p:ext uri="{BB962C8B-B14F-4D97-AF65-F5344CB8AC3E}">
        <p14:creationId xmlns:p14="http://schemas.microsoft.com/office/powerpoint/2010/main" val="317536426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7751" y="1219200"/>
            <a:ext cx="5489449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Chart Placeholder 3">
            <a:extLst>
              <a:ext uri="{FF2B5EF4-FFF2-40B4-BE49-F238E27FC236}">
                <a16:creationId xmlns:a16="http://schemas.microsoft.com/office/drawing/2014/main" id="{00B4BC49-B99B-1177-E500-12757729D6F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04800" y="1219200"/>
            <a:ext cx="5489448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5204B2-C25E-54D8-44CC-ABA38DAF6914}"/>
              </a:ext>
            </a:extLst>
          </p:cNvPr>
          <p:cNvCxnSpPr/>
          <p:nvPr userDrawn="1"/>
        </p:nvCxnSpPr>
        <p:spPr>
          <a:xfrm>
            <a:off x="6096000" y="1219200"/>
            <a:ext cx="0" cy="441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3BB8363-5EEA-956C-441D-06AAB0B850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115824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C373C31-DBB3-2208-A521-999FF953D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1158240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826181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24" name="Picture Placeholder 50">
            <a:extLst>
              <a:ext uri="{FF2B5EF4-FFF2-40B4-BE49-F238E27FC236}">
                <a16:creationId xmlns:a16="http://schemas.microsoft.com/office/drawing/2014/main" id="{E1158365-DD41-790A-BEFB-4191AF8CA27A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 flipH="1">
            <a:off x="301752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50">
            <a:extLst>
              <a:ext uri="{FF2B5EF4-FFF2-40B4-BE49-F238E27FC236}">
                <a16:creationId xmlns:a16="http://schemas.microsoft.com/office/drawing/2014/main" id="{648A33B1-F67C-635E-1912-D01AEF232C52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 flipH="1">
            <a:off x="4222376" y="3529321"/>
            <a:ext cx="3769455" cy="259057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0">
            <a:extLst>
              <a:ext uri="{FF2B5EF4-FFF2-40B4-BE49-F238E27FC236}">
                <a16:creationId xmlns:a16="http://schemas.microsoft.com/office/drawing/2014/main" id="{9477BE40-9125-CCF0-D9F2-A29731F77AE4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 flipH="1">
            <a:off x="4209606" y="701964"/>
            <a:ext cx="3769455" cy="257068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0">
            <a:extLst>
              <a:ext uri="{FF2B5EF4-FFF2-40B4-BE49-F238E27FC236}">
                <a16:creationId xmlns:a16="http://schemas.microsoft.com/office/drawing/2014/main" id="{56FCF207-0EA6-4BF7-0A42-068E64A0C6F5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>
          <a:xfrm flipH="1">
            <a:off x="8283374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BEF2E3-ABE2-A4E6-B1FD-D8E2470217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267984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04800" y="1219200"/>
            <a:ext cx="11582401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DFE36E9-714D-992A-9553-63C3133B38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3F7F31-4B83-C3E8-EB1D-FD6C87B2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0209D7-6DFF-EA72-22D5-4A6A9B48CED9}"/>
              </a:ext>
            </a:extLst>
          </p:cNvPr>
          <p:cNvSpPr txBox="1"/>
          <p:nvPr userDrawn="1"/>
        </p:nvSpPr>
        <p:spPr>
          <a:xfrm>
            <a:off x="11738919" y="654908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46543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BFDE7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2B660F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BFDE7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BFDE7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2B660F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BFDE7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BFDE7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2B660F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BFDE7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BFDE7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2B660F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BFDE7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BFDE7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2235FC-2BFF-D2F6-B24B-8A0CB7A0369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8802769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5D910D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2B660F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5D910D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2B660F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5D910D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2B660F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5D910D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2B660F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2B660F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978147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Takeaways Dr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484860-B7C8-63CB-6C1D-22A50F99ACF6}"/>
              </a:ext>
            </a:extLst>
          </p:cNvPr>
          <p:cNvSpPr txBox="1"/>
          <p:nvPr userDrawn="1"/>
        </p:nvSpPr>
        <p:spPr>
          <a:xfrm>
            <a:off x="963827" y="65614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37187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2B886-E61E-7BB4-B0DD-DC2FF24EAF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12985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Takeaways Drink">
    <p:bg>
      <p:bgPr>
        <a:solidFill>
          <a:srgbClr val="FB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E60B6A-192B-3529-D749-1EF72AE9094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75266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57912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57912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D56BE54F-ABA7-87C3-DDEC-8CC14C3BB9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799" y="1219200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69F201B2-0E15-895F-F5D3-04F06E37DE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799" y="2531953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462DB5CE-E172-93EF-0E0A-B48D937BCE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799" y="3844706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183A6671-C3D1-2881-2875-99B538AF84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799" y="5157458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2EDD37B-1022-E8C0-7621-72C0112B8D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1219200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5F925C44-2E51-AEBC-C500-516E0F1CAC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531953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6F8C1F53-B006-62F5-3475-E642FAB8F3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844706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697916BA-3095-BE46-A2C3-DCD32EE34A8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5157458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reeform 2">
            <a:extLst>
              <a:ext uri="{FF2B5EF4-FFF2-40B4-BE49-F238E27FC236}">
                <a16:creationId xmlns:a16="http://schemas.microsoft.com/office/drawing/2014/main" id="{6BD22F14-1CC1-583A-F08B-CB8A46EA66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49802" y="983"/>
            <a:ext cx="5446923" cy="6856035"/>
          </a:xfrm>
          <a:custGeom>
            <a:avLst/>
            <a:gdLst>
              <a:gd name="T0" fmla="*/ 8744 w 8745"/>
              <a:gd name="T1" fmla="*/ 11007 h 11008"/>
              <a:gd name="T2" fmla="*/ 7828 w 8745"/>
              <a:gd name="T3" fmla="*/ 11007 h 11008"/>
              <a:gd name="T4" fmla="*/ 7828 w 8745"/>
              <a:gd name="T5" fmla="*/ 8903 h 11008"/>
              <a:gd name="T6" fmla="*/ 7828 w 8745"/>
              <a:gd name="T7" fmla="*/ 8903 h 11008"/>
              <a:gd name="T8" fmla="*/ 7490 w 8745"/>
              <a:gd name="T9" fmla="*/ 8564 h 11008"/>
              <a:gd name="T10" fmla="*/ 5578 w 8745"/>
              <a:gd name="T11" fmla="*/ 8564 h 11008"/>
              <a:gd name="T12" fmla="*/ 5578 w 8745"/>
              <a:gd name="T13" fmla="*/ 8564 h 11008"/>
              <a:gd name="T14" fmla="*/ 4322 w 8745"/>
              <a:gd name="T15" fmla="*/ 7309 h 11008"/>
              <a:gd name="T16" fmla="*/ 4322 w 8745"/>
              <a:gd name="T17" fmla="*/ 5901 h 11008"/>
              <a:gd name="T18" fmla="*/ 4322 w 8745"/>
              <a:gd name="T19" fmla="*/ 5901 h 11008"/>
              <a:gd name="T20" fmla="*/ 3984 w 8745"/>
              <a:gd name="T21" fmla="*/ 5562 h 11008"/>
              <a:gd name="T22" fmla="*/ 1256 w 8745"/>
              <a:gd name="T23" fmla="*/ 5562 h 11008"/>
              <a:gd name="T24" fmla="*/ 1256 w 8745"/>
              <a:gd name="T25" fmla="*/ 5562 h 11008"/>
              <a:gd name="T26" fmla="*/ 0 w 8745"/>
              <a:gd name="T27" fmla="*/ 4307 h 11008"/>
              <a:gd name="T28" fmla="*/ 0 w 8745"/>
              <a:gd name="T29" fmla="*/ 0 h 11008"/>
              <a:gd name="T30" fmla="*/ 917 w 8745"/>
              <a:gd name="T31" fmla="*/ 0 h 11008"/>
              <a:gd name="T32" fmla="*/ 917 w 8745"/>
              <a:gd name="T33" fmla="*/ 4307 h 11008"/>
              <a:gd name="T34" fmla="*/ 917 w 8745"/>
              <a:gd name="T35" fmla="*/ 4307 h 11008"/>
              <a:gd name="T36" fmla="*/ 1256 w 8745"/>
              <a:gd name="T37" fmla="*/ 4645 h 11008"/>
              <a:gd name="T38" fmla="*/ 3984 w 8745"/>
              <a:gd name="T39" fmla="*/ 4645 h 11008"/>
              <a:gd name="T40" fmla="*/ 3984 w 8745"/>
              <a:gd name="T41" fmla="*/ 4645 h 11008"/>
              <a:gd name="T42" fmla="*/ 5239 w 8745"/>
              <a:gd name="T43" fmla="*/ 5901 h 11008"/>
              <a:gd name="T44" fmla="*/ 5239 w 8745"/>
              <a:gd name="T45" fmla="*/ 7309 h 11008"/>
              <a:gd name="T46" fmla="*/ 5239 w 8745"/>
              <a:gd name="T47" fmla="*/ 7309 h 11008"/>
              <a:gd name="T48" fmla="*/ 5578 w 8745"/>
              <a:gd name="T49" fmla="*/ 7647 h 11008"/>
              <a:gd name="T50" fmla="*/ 7490 w 8745"/>
              <a:gd name="T51" fmla="*/ 7647 h 11008"/>
              <a:gd name="T52" fmla="*/ 7490 w 8745"/>
              <a:gd name="T53" fmla="*/ 7647 h 11008"/>
              <a:gd name="T54" fmla="*/ 8744 w 8745"/>
              <a:gd name="T55" fmla="*/ 8903 h 11008"/>
              <a:gd name="T56" fmla="*/ 8744 w 8745"/>
              <a:gd name="T57" fmla="*/ 11007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745" h="11008">
                <a:moveTo>
                  <a:pt x="8744" y="11007"/>
                </a:moveTo>
                <a:lnTo>
                  <a:pt x="7828" y="11007"/>
                </a:lnTo>
                <a:lnTo>
                  <a:pt x="7828" y="8903"/>
                </a:lnTo>
                <a:lnTo>
                  <a:pt x="7828" y="8903"/>
                </a:lnTo>
                <a:cubicBezTo>
                  <a:pt x="7828" y="8716"/>
                  <a:pt x="7676" y="8564"/>
                  <a:pt x="7490" y="8564"/>
                </a:cubicBezTo>
                <a:lnTo>
                  <a:pt x="5578" y="8564"/>
                </a:lnTo>
                <a:lnTo>
                  <a:pt x="5578" y="8564"/>
                </a:lnTo>
                <a:cubicBezTo>
                  <a:pt x="4885" y="8564"/>
                  <a:pt x="4322" y="8001"/>
                  <a:pt x="4322" y="7309"/>
                </a:cubicBezTo>
                <a:lnTo>
                  <a:pt x="4322" y="5901"/>
                </a:lnTo>
                <a:lnTo>
                  <a:pt x="4322" y="5901"/>
                </a:lnTo>
                <a:cubicBezTo>
                  <a:pt x="4322" y="5714"/>
                  <a:pt x="4170" y="5562"/>
                  <a:pt x="3984" y="5562"/>
                </a:cubicBezTo>
                <a:lnTo>
                  <a:pt x="1256" y="5562"/>
                </a:lnTo>
                <a:lnTo>
                  <a:pt x="1256" y="5562"/>
                </a:lnTo>
                <a:cubicBezTo>
                  <a:pt x="563" y="5562"/>
                  <a:pt x="0" y="5000"/>
                  <a:pt x="0" y="4307"/>
                </a:cubicBezTo>
                <a:lnTo>
                  <a:pt x="0" y="0"/>
                </a:lnTo>
                <a:lnTo>
                  <a:pt x="917" y="0"/>
                </a:lnTo>
                <a:lnTo>
                  <a:pt x="917" y="4307"/>
                </a:lnTo>
                <a:lnTo>
                  <a:pt x="917" y="4307"/>
                </a:lnTo>
                <a:cubicBezTo>
                  <a:pt x="917" y="4494"/>
                  <a:pt x="1069" y="4645"/>
                  <a:pt x="1256" y="4645"/>
                </a:cubicBezTo>
                <a:lnTo>
                  <a:pt x="3984" y="4645"/>
                </a:lnTo>
                <a:lnTo>
                  <a:pt x="3984" y="4645"/>
                </a:lnTo>
                <a:cubicBezTo>
                  <a:pt x="4676" y="4645"/>
                  <a:pt x="5239" y="5209"/>
                  <a:pt x="5239" y="5901"/>
                </a:cubicBezTo>
                <a:lnTo>
                  <a:pt x="5239" y="7309"/>
                </a:lnTo>
                <a:lnTo>
                  <a:pt x="5239" y="7309"/>
                </a:lnTo>
                <a:cubicBezTo>
                  <a:pt x="5239" y="7495"/>
                  <a:pt x="5391" y="7647"/>
                  <a:pt x="5578" y="7647"/>
                </a:cubicBezTo>
                <a:lnTo>
                  <a:pt x="7490" y="7647"/>
                </a:lnTo>
                <a:lnTo>
                  <a:pt x="7490" y="7647"/>
                </a:lnTo>
                <a:cubicBezTo>
                  <a:pt x="8181" y="7647"/>
                  <a:pt x="8744" y="8211"/>
                  <a:pt x="8744" y="8903"/>
                </a:cubicBezTo>
                <a:lnTo>
                  <a:pt x="8744" y="11007"/>
                </a:lnTo>
              </a:path>
            </a:pathLst>
          </a:custGeom>
          <a:solidFill>
            <a:srgbClr val="71A8E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sp>
        <p:nvSpPr>
          <p:cNvPr id="15" name="Freeform 3">
            <a:extLst>
              <a:ext uri="{FF2B5EF4-FFF2-40B4-BE49-F238E27FC236}">
                <a16:creationId xmlns:a16="http://schemas.microsoft.com/office/drawing/2014/main" id="{C2AC23DE-BDCF-7B12-B239-81D6A0D521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03881" y="983"/>
            <a:ext cx="4938764" cy="6856035"/>
          </a:xfrm>
          <a:custGeom>
            <a:avLst/>
            <a:gdLst>
              <a:gd name="T0" fmla="*/ 0 w 7930"/>
              <a:gd name="T1" fmla="*/ 714 h 11008"/>
              <a:gd name="T2" fmla="*/ 102 w 7930"/>
              <a:gd name="T3" fmla="*/ 0 h 11008"/>
              <a:gd name="T4" fmla="*/ 102 w 7930"/>
              <a:gd name="T5" fmla="*/ 2140 h 11008"/>
              <a:gd name="T6" fmla="*/ 0 w 7930"/>
              <a:gd name="T7" fmla="*/ 1427 h 11008"/>
              <a:gd name="T8" fmla="*/ 102 w 7930"/>
              <a:gd name="T9" fmla="*/ 2140 h 11008"/>
              <a:gd name="T10" fmla="*/ 0 w 7930"/>
              <a:gd name="T11" fmla="*/ 3567 h 11008"/>
              <a:gd name="T12" fmla="*/ 102 w 7930"/>
              <a:gd name="T13" fmla="*/ 2854 h 11008"/>
              <a:gd name="T14" fmla="*/ 296 w 7930"/>
              <a:gd name="T15" fmla="*/ 4951 h 11008"/>
              <a:gd name="T16" fmla="*/ 0 w 7930"/>
              <a:gd name="T17" fmla="*/ 4307 h 11008"/>
              <a:gd name="T18" fmla="*/ 102 w 7930"/>
              <a:gd name="T19" fmla="*/ 4281 h 11008"/>
              <a:gd name="T20" fmla="*/ 102 w 7930"/>
              <a:gd name="T21" fmla="*/ 4307 h 11008"/>
              <a:gd name="T22" fmla="*/ 296 w 7930"/>
              <a:gd name="T23" fmla="*/ 4951 h 11008"/>
              <a:gd name="T24" fmla="*/ 996 w 7930"/>
              <a:gd name="T25" fmla="*/ 5156 h 11008"/>
              <a:gd name="T26" fmla="*/ 1709 w 7930"/>
              <a:gd name="T27" fmla="*/ 5053 h 11008"/>
              <a:gd name="T28" fmla="*/ 3137 w 7930"/>
              <a:gd name="T29" fmla="*/ 5156 h 11008"/>
              <a:gd name="T30" fmla="*/ 2423 w 7930"/>
              <a:gd name="T31" fmla="*/ 5053 h 11008"/>
              <a:gd name="T32" fmla="*/ 3137 w 7930"/>
              <a:gd name="T33" fmla="*/ 5156 h 11008"/>
              <a:gd name="T34" fmla="*/ 4282 w 7930"/>
              <a:gd name="T35" fmla="*/ 5657 h 11008"/>
              <a:gd name="T36" fmla="*/ 3862 w 7930"/>
              <a:gd name="T37" fmla="*/ 5103 h 11008"/>
              <a:gd name="T38" fmla="*/ 4378 w 7930"/>
              <a:gd name="T39" fmla="*/ 5624 h 11008"/>
              <a:gd name="T40" fmla="*/ 4423 w 7930"/>
              <a:gd name="T41" fmla="*/ 7063 h 11008"/>
              <a:gd name="T42" fmla="*/ 4322 w 7930"/>
              <a:gd name="T43" fmla="*/ 6350 h 11008"/>
              <a:gd name="T44" fmla="*/ 4423 w 7930"/>
              <a:gd name="T45" fmla="*/ 7063 h 11008"/>
              <a:gd name="T46" fmla="*/ 5094 w 7930"/>
              <a:gd name="T47" fmla="*/ 8154 h 11008"/>
              <a:gd name="T48" fmla="*/ 4548 w 7930"/>
              <a:gd name="T49" fmla="*/ 7722 h 11008"/>
              <a:gd name="T50" fmla="*/ 5103 w 7930"/>
              <a:gd name="T51" fmla="*/ 8052 h 11008"/>
              <a:gd name="T52" fmla="*/ 6525 w 7930"/>
              <a:gd name="T53" fmla="*/ 8156 h 11008"/>
              <a:gd name="T54" fmla="*/ 5812 w 7930"/>
              <a:gd name="T55" fmla="*/ 8054 h 11008"/>
              <a:gd name="T56" fmla="*/ 6525 w 7930"/>
              <a:gd name="T57" fmla="*/ 8156 h 11008"/>
              <a:gd name="T58" fmla="*/ 7743 w 7930"/>
              <a:gd name="T59" fmla="*/ 8558 h 11008"/>
              <a:gd name="T60" fmla="*/ 7248 w 7930"/>
              <a:gd name="T61" fmla="*/ 8071 h 11008"/>
              <a:gd name="T62" fmla="*/ 7834 w 7930"/>
              <a:gd name="T63" fmla="*/ 8511 h 11008"/>
              <a:gd name="T64" fmla="*/ 7929 w 7930"/>
              <a:gd name="T65" fmla="*/ 9947 h 11008"/>
              <a:gd name="T66" fmla="*/ 7827 w 7930"/>
              <a:gd name="T67" fmla="*/ 9234 h 11008"/>
              <a:gd name="T68" fmla="*/ 7929 w 7930"/>
              <a:gd name="T69" fmla="*/ 9947 h 11008"/>
              <a:gd name="T70" fmla="*/ 7827 w 7930"/>
              <a:gd name="T71" fmla="*/ 11007 h 11008"/>
              <a:gd name="T72" fmla="*/ 7929 w 7930"/>
              <a:gd name="T73" fmla="*/ 10661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930" h="11008">
                <a:moveTo>
                  <a:pt x="102" y="714"/>
                </a:moveTo>
                <a:lnTo>
                  <a:pt x="0" y="714"/>
                </a:lnTo>
                <a:lnTo>
                  <a:pt x="0" y="0"/>
                </a:lnTo>
                <a:lnTo>
                  <a:pt x="102" y="0"/>
                </a:lnTo>
                <a:lnTo>
                  <a:pt x="102" y="714"/>
                </a:lnTo>
                <a:close/>
                <a:moveTo>
                  <a:pt x="102" y="2140"/>
                </a:moveTo>
                <a:lnTo>
                  <a:pt x="0" y="2140"/>
                </a:lnTo>
                <a:lnTo>
                  <a:pt x="0" y="1427"/>
                </a:lnTo>
                <a:lnTo>
                  <a:pt x="102" y="1427"/>
                </a:lnTo>
                <a:lnTo>
                  <a:pt x="102" y="2140"/>
                </a:lnTo>
                <a:close/>
                <a:moveTo>
                  <a:pt x="102" y="3567"/>
                </a:moveTo>
                <a:lnTo>
                  <a:pt x="0" y="3567"/>
                </a:lnTo>
                <a:lnTo>
                  <a:pt x="0" y="2854"/>
                </a:lnTo>
                <a:lnTo>
                  <a:pt x="102" y="2854"/>
                </a:lnTo>
                <a:lnTo>
                  <a:pt x="102" y="3567"/>
                </a:lnTo>
                <a:close/>
                <a:moveTo>
                  <a:pt x="296" y="4951"/>
                </a:moveTo>
                <a:lnTo>
                  <a:pt x="296" y="4951"/>
                </a:lnTo>
                <a:cubicBezTo>
                  <a:pt x="108" y="4790"/>
                  <a:pt x="0" y="4555"/>
                  <a:pt x="0" y="4307"/>
                </a:cubicBezTo>
                <a:lnTo>
                  <a:pt x="0" y="4281"/>
                </a:lnTo>
                <a:lnTo>
                  <a:pt x="102" y="4281"/>
                </a:lnTo>
                <a:lnTo>
                  <a:pt x="102" y="4307"/>
                </a:lnTo>
                <a:lnTo>
                  <a:pt x="102" y="4307"/>
                </a:lnTo>
                <a:cubicBezTo>
                  <a:pt x="102" y="4525"/>
                  <a:pt x="197" y="4732"/>
                  <a:pt x="362" y="4874"/>
                </a:cubicBezTo>
                <a:lnTo>
                  <a:pt x="296" y="4951"/>
                </a:lnTo>
                <a:close/>
                <a:moveTo>
                  <a:pt x="1709" y="5156"/>
                </a:moveTo>
                <a:lnTo>
                  <a:pt x="996" y="5156"/>
                </a:lnTo>
                <a:lnTo>
                  <a:pt x="996" y="5053"/>
                </a:lnTo>
                <a:lnTo>
                  <a:pt x="1709" y="5053"/>
                </a:lnTo>
                <a:lnTo>
                  <a:pt x="1709" y="5156"/>
                </a:lnTo>
                <a:close/>
                <a:moveTo>
                  <a:pt x="3137" y="5156"/>
                </a:moveTo>
                <a:lnTo>
                  <a:pt x="2423" y="5156"/>
                </a:lnTo>
                <a:lnTo>
                  <a:pt x="2423" y="5053"/>
                </a:lnTo>
                <a:lnTo>
                  <a:pt x="3137" y="5053"/>
                </a:lnTo>
                <a:lnTo>
                  <a:pt x="3137" y="5156"/>
                </a:lnTo>
                <a:close/>
                <a:moveTo>
                  <a:pt x="4282" y="5657"/>
                </a:moveTo>
                <a:lnTo>
                  <a:pt x="4282" y="5657"/>
                </a:lnTo>
                <a:cubicBezTo>
                  <a:pt x="4208" y="5447"/>
                  <a:pt x="4039" y="5275"/>
                  <a:pt x="3827" y="5199"/>
                </a:cubicBezTo>
                <a:lnTo>
                  <a:pt x="3862" y="5103"/>
                </a:lnTo>
                <a:lnTo>
                  <a:pt x="3862" y="5103"/>
                </a:lnTo>
                <a:cubicBezTo>
                  <a:pt x="4102" y="5189"/>
                  <a:pt x="4294" y="5384"/>
                  <a:pt x="4378" y="5624"/>
                </a:cubicBezTo>
                <a:lnTo>
                  <a:pt x="4282" y="5657"/>
                </a:lnTo>
                <a:close/>
                <a:moveTo>
                  <a:pt x="4423" y="7063"/>
                </a:moveTo>
                <a:lnTo>
                  <a:pt x="4322" y="7063"/>
                </a:lnTo>
                <a:lnTo>
                  <a:pt x="4322" y="6350"/>
                </a:lnTo>
                <a:lnTo>
                  <a:pt x="4423" y="6350"/>
                </a:lnTo>
                <a:lnTo>
                  <a:pt x="4423" y="7063"/>
                </a:lnTo>
                <a:close/>
                <a:moveTo>
                  <a:pt x="5094" y="8154"/>
                </a:moveTo>
                <a:lnTo>
                  <a:pt x="5094" y="8154"/>
                </a:lnTo>
                <a:cubicBezTo>
                  <a:pt x="4837" y="8130"/>
                  <a:pt x="4607" y="7994"/>
                  <a:pt x="4463" y="7778"/>
                </a:cubicBezTo>
                <a:lnTo>
                  <a:pt x="4548" y="7722"/>
                </a:lnTo>
                <a:lnTo>
                  <a:pt x="4548" y="7722"/>
                </a:lnTo>
                <a:cubicBezTo>
                  <a:pt x="4675" y="7911"/>
                  <a:pt x="4877" y="8032"/>
                  <a:pt x="5103" y="8052"/>
                </a:cubicBezTo>
                <a:lnTo>
                  <a:pt x="5094" y="8154"/>
                </a:lnTo>
                <a:close/>
                <a:moveTo>
                  <a:pt x="6525" y="8156"/>
                </a:moveTo>
                <a:lnTo>
                  <a:pt x="5812" y="8156"/>
                </a:lnTo>
                <a:lnTo>
                  <a:pt x="5812" y="8054"/>
                </a:lnTo>
                <a:lnTo>
                  <a:pt x="6525" y="8054"/>
                </a:lnTo>
                <a:lnTo>
                  <a:pt x="6525" y="8156"/>
                </a:lnTo>
                <a:close/>
                <a:moveTo>
                  <a:pt x="7743" y="8558"/>
                </a:moveTo>
                <a:lnTo>
                  <a:pt x="7743" y="8558"/>
                </a:lnTo>
                <a:cubicBezTo>
                  <a:pt x="7639" y="8357"/>
                  <a:pt x="7451" y="8215"/>
                  <a:pt x="7228" y="8171"/>
                </a:cubicBezTo>
                <a:lnTo>
                  <a:pt x="7248" y="8071"/>
                </a:lnTo>
                <a:lnTo>
                  <a:pt x="7248" y="8071"/>
                </a:lnTo>
                <a:cubicBezTo>
                  <a:pt x="7501" y="8121"/>
                  <a:pt x="7714" y="8281"/>
                  <a:pt x="7834" y="8511"/>
                </a:cubicBezTo>
                <a:lnTo>
                  <a:pt x="7743" y="8558"/>
                </a:lnTo>
                <a:close/>
                <a:moveTo>
                  <a:pt x="7929" y="9947"/>
                </a:moveTo>
                <a:lnTo>
                  <a:pt x="7827" y="9947"/>
                </a:lnTo>
                <a:lnTo>
                  <a:pt x="7827" y="9234"/>
                </a:lnTo>
                <a:lnTo>
                  <a:pt x="7929" y="9234"/>
                </a:lnTo>
                <a:lnTo>
                  <a:pt x="7929" y="9947"/>
                </a:lnTo>
                <a:close/>
                <a:moveTo>
                  <a:pt x="7929" y="11007"/>
                </a:moveTo>
                <a:lnTo>
                  <a:pt x="7827" y="11007"/>
                </a:lnTo>
                <a:lnTo>
                  <a:pt x="7827" y="10661"/>
                </a:lnTo>
                <a:lnTo>
                  <a:pt x="7929" y="10661"/>
                </a:lnTo>
                <a:lnTo>
                  <a:pt x="7929" y="11007"/>
                </a:lnTo>
                <a:close/>
              </a:path>
            </a:pathLst>
          </a:custGeom>
          <a:solidFill>
            <a:schemeClr val="bg1"/>
          </a:solidFill>
          <a:ln w="44450">
            <a:solidFill>
              <a:srgbClr val="71A8E3"/>
            </a:solidFill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76B9083-E984-B459-A791-83ED465468AF}"/>
              </a:ext>
            </a:extLst>
          </p:cNvPr>
          <p:cNvGrpSpPr/>
          <p:nvPr userDrawn="1"/>
        </p:nvGrpSpPr>
        <p:grpSpPr>
          <a:xfrm>
            <a:off x="6155347" y="1168821"/>
            <a:ext cx="5597126" cy="3884198"/>
            <a:chOff x="6040405" y="1077244"/>
            <a:chExt cx="5932550" cy="4116971"/>
          </a:xfrm>
        </p:grpSpPr>
        <p:sp>
          <p:nvSpPr>
            <p:cNvPr id="16" name="Freeform 4">
              <a:extLst>
                <a:ext uri="{FF2B5EF4-FFF2-40B4-BE49-F238E27FC236}">
                  <a16:creationId xmlns:a16="http://schemas.microsoft.com/office/drawing/2014/main" id="{A6D17E1B-F6BF-8A22-2283-3456C556CF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40405" y="1077244"/>
              <a:ext cx="1247052" cy="1444822"/>
            </a:xfrm>
            <a:custGeom>
              <a:avLst/>
              <a:gdLst>
                <a:gd name="T0" fmla="*/ 2002 w 2003"/>
                <a:gd name="T1" fmla="*/ 1002 h 2321"/>
                <a:gd name="T2" fmla="*/ 2002 w 2003"/>
                <a:gd name="T3" fmla="*/ 1002 h 2321"/>
                <a:gd name="T4" fmla="*/ 1001 w 2003"/>
                <a:gd name="T5" fmla="*/ 0 h 2321"/>
                <a:gd name="T6" fmla="*/ 1001 w 2003"/>
                <a:gd name="T7" fmla="*/ 0 h 2321"/>
                <a:gd name="T8" fmla="*/ 0 w 2003"/>
                <a:gd name="T9" fmla="*/ 1002 h 2321"/>
                <a:gd name="T10" fmla="*/ 0 w 2003"/>
                <a:gd name="T11" fmla="*/ 1002 h 2321"/>
                <a:gd name="T12" fmla="*/ 1 w 2003"/>
                <a:gd name="T13" fmla="*/ 1034 h 2321"/>
                <a:gd name="T14" fmla="*/ 1 w 2003"/>
                <a:gd name="T15" fmla="*/ 1034 h 2321"/>
                <a:gd name="T16" fmla="*/ 139 w 2003"/>
                <a:gd name="T17" fmla="*/ 1509 h 2321"/>
                <a:gd name="T18" fmla="*/ 139 w 2003"/>
                <a:gd name="T19" fmla="*/ 1509 h 2321"/>
                <a:gd name="T20" fmla="*/ 1001 w 2003"/>
                <a:gd name="T21" fmla="*/ 2320 h 2321"/>
                <a:gd name="T22" fmla="*/ 1001 w 2003"/>
                <a:gd name="T23" fmla="*/ 2320 h 2321"/>
                <a:gd name="T24" fmla="*/ 1855 w 2003"/>
                <a:gd name="T25" fmla="*/ 1523 h 2321"/>
                <a:gd name="T26" fmla="*/ 1855 w 2003"/>
                <a:gd name="T27" fmla="*/ 1523 h 2321"/>
                <a:gd name="T28" fmla="*/ 2002 w 2003"/>
                <a:gd name="T29" fmla="*/ 1002 h 2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1">
                  <a:moveTo>
                    <a:pt x="2002" y="1002"/>
                  </a:moveTo>
                  <a:lnTo>
                    <a:pt x="2002" y="1002"/>
                  </a:lnTo>
                  <a:cubicBezTo>
                    <a:pt x="2002" y="449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0" y="449"/>
                    <a:pt x="0" y="1002"/>
                  </a:cubicBezTo>
                  <a:lnTo>
                    <a:pt x="0" y="1002"/>
                  </a:lnTo>
                  <a:cubicBezTo>
                    <a:pt x="0" y="1002"/>
                    <a:pt x="0" y="1013"/>
                    <a:pt x="1" y="1034"/>
                  </a:cubicBezTo>
                  <a:lnTo>
                    <a:pt x="1" y="1034"/>
                  </a:lnTo>
                  <a:cubicBezTo>
                    <a:pt x="7" y="1207"/>
                    <a:pt x="56" y="1369"/>
                    <a:pt x="139" y="1509"/>
                  </a:cubicBezTo>
                  <a:lnTo>
                    <a:pt x="139" y="1509"/>
                  </a:lnTo>
                  <a:cubicBezTo>
                    <a:pt x="268" y="1764"/>
                    <a:pt x="518" y="2071"/>
                    <a:pt x="1001" y="2320"/>
                  </a:cubicBezTo>
                  <a:lnTo>
                    <a:pt x="1001" y="2320"/>
                  </a:lnTo>
                  <a:cubicBezTo>
                    <a:pt x="1475" y="2075"/>
                    <a:pt x="1724" y="1775"/>
                    <a:pt x="1855" y="1523"/>
                  </a:cubicBezTo>
                  <a:lnTo>
                    <a:pt x="1855" y="1523"/>
                  </a:lnTo>
                  <a:cubicBezTo>
                    <a:pt x="1948" y="1371"/>
                    <a:pt x="2002" y="1192"/>
                    <a:pt x="2002" y="1002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3F51244-EEF0-9BCA-2F92-90F992089F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62460" y="1799655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8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5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solidFill>
                  <a:srgbClr val="3680CE"/>
                </a:solidFill>
                <a:latin typeface="Gilroy Medium" panose="00000600000000000000" pitchFamily="50" charset="0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9E3F30A-100E-DFCA-0C48-0F43E63D2A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28537" y="3244477"/>
              <a:ext cx="1247052" cy="1444822"/>
            </a:xfrm>
            <a:custGeom>
              <a:avLst/>
              <a:gdLst>
                <a:gd name="T0" fmla="*/ 2002 w 2003"/>
                <a:gd name="T1" fmla="*/ 1000 h 2320"/>
                <a:gd name="T2" fmla="*/ 2002 w 2003"/>
                <a:gd name="T3" fmla="*/ 1000 h 2320"/>
                <a:gd name="T4" fmla="*/ 1001 w 2003"/>
                <a:gd name="T5" fmla="*/ 0 h 2320"/>
                <a:gd name="T6" fmla="*/ 1001 w 2003"/>
                <a:gd name="T7" fmla="*/ 0 h 2320"/>
                <a:gd name="T8" fmla="*/ 0 w 2003"/>
                <a:gd name="T9" fmla="*/ 1000 h 2320"/>
                <a:gd name="T10" fmla="*/ 0 w 2003"/>
                <a:gd name="T11" fmla="*/ 1000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0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0"/>
                  </a:moveTo>
                  <a:lnTo>
                    <a:pt x="2002" y="1000"/>
                  </a:lnTo>
                  <a:cubicBezTo>
                    <a:pt x="2002" y="447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0" y="447"/>
                    <a:pt x="0" y="1000"/>
                  </a:cubicBezTo>
                  <a:lnTo>
                    <a:pt x="0" y="1000"/>
                  </a:lnTo>
                  <a:cubicBezTo>
                    <a:pt x="0" y="1000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7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0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392E0BFC-9EFA-B829-7466-C444E71B38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25903" y="3749393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3 h 2320"/>
                <a:gd name="T26" fmla="*/ 1855 w 2003"/>
                <a:gd name="T27" fmla="*/ 1523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3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7" y="1368"/>
                    <a:pt x="139" y="1508"/>
                  </a:cubicBezTo>
                  <a:lnTo>
                    <a:pt x="139" y="1508"/>
                  </a:lnTo>
                  <a:cubicBezTo>
                    <a:pt x="268" y="1764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3" y="1775"/>
                    <a:pt x="1855" y="1523"/>
                  </a:cubicBezTo>
                  <a:lnTo>
                    <a:pt x="1855" y="1523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AA6D690-C698-DD52-8CBB-FD5EBA199E0F}"/>
                </a:ext>
              </a:extLst>
            </p:cNvPr>
            <p:cNvSpPr txBox="1"/>
            <p:nvPr userDrawn="1"/>
          </p:nvSpPr>
          <p:spPr>
            <a:xfrm>
              <a:off x="6277141" y="1555578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E202177-A0A3-7D88-8201-9D04CDA383E0}"/>
                </a:ext>
              </a:extLst>
            </p:cNvPr>
            <p:cNvSpPr txBox="1"/>
            <p:nvPr userDrawn="1"/>
          </p:nvSpPr>
          <p:spPr>
            <a:xfrm>
              <a:off x="7895535" y="227466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2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93F20E4-154D-645A-EF04-5ADF189D49A7}"/>
                </a:ext>
              </a:extLst>
            </p:cNvPr>
            <p:cNvSpPr txBox="1"/>
            <p:nvPr userDrawn="1"/>
          </p:nvSpPr>
          <p:spPr>
            <a:xfrm>
              <a:off x="9167393" y="3749393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3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9D6A3AC-2EE6-716B-45E4-57056D14E360}"/>
                </a:ext>
              </a:extLst>
            </p:cNvPr>
            <p:cNvSpPr txBox="1"/>
            <p:nvPr userDrawn="1"/>
          </p:nvSpPr>
          <p:spPr>
            <a:xfrm>
              <a:off x="10964759" y="423283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467788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FCBFFC2-1D04-EF48-A388-95DB2B2160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3D484A-938C-B017-C04F-A83D0A578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9819057-E5D7-F5B5-80B8-9D7ACF1BA5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CD7C8C64-7DA7-695D-77FD-154A303646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528AFB-3CA6-BE65-81A7-B0D1C091938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160794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2B660F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50AA3F9-21A5-E27D-8950-EB829485AA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99C0A931-72BC-0356-B06E-B975330614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323589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52EE75-7A55-5193-C356-31AD2386985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0534067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9D29EE-A3C0-3200-A5BC-DB78A9C5B0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4A8199-D7C3-8C1A-9917-6F4FFF77C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6CBAC9C-3270-8C3D-55F7-B20DEA5AB3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45DEAD8-0715-5FF7-F4B8-BBD1F23C74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7025DC-7B04-F2E8-D156-8564266B8B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D77FFD-F9B9-3CCA-A145-F23B5D2C2FA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878173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051511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FD43D8-0728-76B9-5BEC-721CBA413DB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2456050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42EAE78A-A977-01CA-A116-2B9E201DFA70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B81C1A-BF3A-436C-E104-9E52FC208E4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701941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tement-Sustainability">
    <p:bg>
      <p:bgPr>
        <a:solidFill>
          <a:srgbClr val="CA4A0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AF816B51-0B2B-07F2-FCB3-11207A3D0955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EE6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22F11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22F11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EF998D-D59B-1F7C-942E-1E40A1E67A5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857022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AF816B51-0B2B-07F2-FCB3-11207A3D0955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EF998D-D59B-1F7C-942E-1E40A1E67A5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075003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082" y="301308"/>
            <a:ext cx="4094480" cy="1852055"/>
          </a:xfr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10722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ek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1366CA1-4CC7-BF24-ABE7-AEE5361EF3CA}"/>
              </a:ext>
            </a:extLst>
          </p:cNvPr>
          <p:cNvSpPr/>
          <p:nvPr userDrawn="1"/>
        </p:nvSpPr>
        <p:spPr>
          <a:xfrm>
            <a:off x="3047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9882350-35F7-F137-A300-3154BB5E34FA}"/>
              </a:ext>
            </a:extLst>
          </p:cNvPr>
          <p:cNvSpPr/>
          <p:nvPr userDrawn="1"/>
        </p:nvSpPr>
        <p:spPr>
          <a:xfrm>
            <a:off x="32765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30C34CE-E743-C5CE-0566-A6348A458DCB}"/>
              </a:ext>
            </a:extLst>
          </p:cNvPr>
          <p:cNvSpPr/>
          <p:nvPr userDrawn="1"/>
        </p:nvSpPr>
        <p:spPr>
          <a:xfrm>
            <a:off x="62483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8D99EF-EB86-548C-11F3-0BEFFAB42FFD}"/>
              </a:ext>
            </a:extLst>
          </p:cNvPr>
          <p:cNvSpPr/>
          <p:nvPr userDrawn="1"/>
        </p:nvSpPr>
        <p:spPr>
          <a:xfrm>
            <a:off x="9207753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F3872A-5020-9E81-994E-3B78940FFA84}"/>
              </a:ext>
            </a:extLst>
          </p:cNvPr>
          <p:cNvSpPr/>
          <p:nvPr userDrawn="1"/>
        </p:nvSpPr>
        <p:spPr>
          <a:xfrm>
            <a:off x="17906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CD08363-7BDE-1994-9A0F-8B8835C9D39B}"/>
              </a:ext>
            </a:extLst>
          </p:cNvPr>
          <p:cNvSpPr/>
          <p:nvPr userDrawn="1"/>
        </p:nvSpPr>
        <p:spPr>
          <a:xfrm>
            <a:off x="4762496" y="3828105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14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8DE32D-DAC0-28AA-F629-6530651BAC1C}"/>
              </a:ext>
            </a:extLst>
          </p:cNvPr>
          <p:cNvSpPr/>
          <p:nvPr userDrawn="1"/>
        </p:nvSpPr>
        <p:spPr>
          <a:xfrm>
            <a:off x="77342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E0FB13C-B3D3-CC89-8B22-4D3DC55EDD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336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35823ED-48FE-341A-AB02-4ADE49610B9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7336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B28C6E4-D43D-4AAD-AA6C-BD9885E32F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1764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BF7D7BD-778A-4E3E-D4B4-013993C4A83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31764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25BA7AF2-63E2-9747-5CF2-6EE0AFC33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5681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2E02903-004F-C3F0-21E5-8C7F3FC5BC1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395681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316079D-17AC-A4EE-5AF4-ABD7EE1435B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72738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A73F0F4-6102-FBB6-F8BD-E76801D5BE4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72738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8CBEB1-C473-BA68-682F-E25666C73B2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50075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C9E0F917-776A-5630-408D-AE759278995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50075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1C6F05D-EDC3-09AE-0D3B-824642A38F7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15037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0B2FA8DC-9809-2D57-EDF3-4E92723CBC1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915037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BE6E11F-D789-FD72-BCD1-6D4D6CDEB73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879999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1E8815AD-159B-3574-EEB3-46C58943500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879999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49927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C019705-392E-1513-A73C-8B73FBF443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8399" y="304801"/>
            <a:ext cx="5638801" cy="5829300"/>
          </a:xfrm>
          <a:prstGeom prst="roundRect">
            <a:avLst>
              <a:gd name="adj" fmla="val 2768"/>
            </a:avLst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19200"/>
            <a:ext cx="5638799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5D91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3379788"/>
            <a:ext cx="5638800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2B660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7CE26B-FE56-D52E-D936-DE13DCDBD4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4029076"/>
            <a:ext cx="5638799" cy="2109258"/>
          </a:xfrm>
        </p:spPr>
        <p:txBody>
          <a:bodyPr/>
          <a:lstStyle>
            <a:lvl1pPr>
              <a:defRPr sz="1600">
                <a:solidFill>
                  <a:srgbClr val="2B660F"/>
                </a:solidFill>
                <a:latin typeface="+mn-lt"/>
              </a:defRPr>
            </a:lvl1pPr>
            <a:lvl2pPr>
              <a:defRPr sz="1400">
                <a:solidFill>
                  <a:srgbClr val="2B660F"/>
                </a:solidFill>
                <a:latin typeface="+mn-lt"/>
              </a:defRPr>
            </a:lvl2pPr>
            <a:lvl3pPr>
              <a:defRPr sz="1200">
                <a:solidFill>
                  <a:srgbClr val="2B660F"/>
                </a:solidFill>
                <a:latin typeface="+mn-lt"/>
              </a:defRPr>
            </a:lvl3pPr>
            <a:lvl4pPr>
              <a:defRPr sz="1100">
                <a:solidFill>
                  <a:srgbClr val="2B660F"/>
                </a:solidFill>
                <a:latin typeface="+mn-lt"/>
              </a:defRPr>
            </a:lvl4pPr>
            <a:lvl5pPr>
              <a:defRPr sz="1050">
                <a:solidFill>
                  <a:srgbClr val="2B660F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824375-C552-8786-CB9F-47605F8904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7175155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FDD9CA-9F0B-B737-A35D-05711DB598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795" y="362758"/>
            <a:ext cx="896203" cy="896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05846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3AF5BC-3159-7D8C-75AA-14C890BE4B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796" y="362758"/>
            <a:ext cx="896203" cy="896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1568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-Food">
    <p:bg>
      <p:bgPr>
        <a:solidFill>
          <a:srgbClr val="EE6D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922F11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922F1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5DDFA-4EA6-8118-09EA-894AD22101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28537"/>
          <a:stretch>
            <a:fillRect/>
          </a:stretch>
        </p:blipFill>
        <p:spPr>
          <a:xfrm>
            <a:off x="92332" y="362758"/>
            <a:ext cx="1612900" cy="97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39866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0F440D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DDDE28-076A-30B3-3A87-D22CCDE420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2303132-93C3-B58B-51CF-9C0FED7206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498078"/>
            <a:ext cx="658705" cy="7483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F7EF99-1424-2925-FC60-5D8A1725D73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9747195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Drink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2355A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F30E4F8F-C6C8-F57D-0CDA-4E4AE1731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3342" b="34504"/>
          <a:stretch>
            <a:fillRect/>
          </a:stretch>
        </p:blipFill>
        <p:spPr>
          <a:xfrm>
            <a:off x="8536804" y="535326"/>
            <a:ext cx="3655196" cy="6286381"/>
          </a:xfrm>
          <a:custGeom>
            <a:avLst/>
            <a:gdLst>
              <a:gd name="connsiteX0" fmla="*/ 0 w 3655196"/>
              <a:gd name="connsiteY0" fmla="*/ 0 h 6286381"/>
              <a:gd name="connsiteX1" fmla="*/ 3655196 w 3655196"/>
              <a:gd name="connsiteY1" fmla="*/ 0 h 6286381"/>
              <a:gd name="connsiteX2" fmla="*/ 3655196 w 3655196"/>
              <a:gd name="connsiteY2" fmla="*/ 6286381 h 6286381"/>
              <a:gd name="connsiteX3" fmla="*/ 0 w 3655196"/>
              <a:gd name="connsiteY3" fmla="*/ 6286381 h 628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5196" h="6286381">
                <a:moveTo>
                  <a:pt x="0" y="0"/>
                </a:moveTo>
                <a:lnTo>
                  <a:pt x="3655196" y="0"/>
                </a:lnTo>
                <a:lnTo>
                  <a:pt x="3655196" y="6286381"/>
                </a:lnTo>
                <a:lnTo>
                  <a:pt x="0" y="6286381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E548BC-7DFB-3A37-F824-E7E7F7C1D8D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304663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796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4262262-1774-13E8-18F1-4C24C4D04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2472" b="15247"/>
          <a:stretch>
            <a:fillRect/>
          </a:stretch>
        </p:blipFill>
        <p:spPr>
          <a:xfrm>
            <a:off x="7746460" y="406558"/>
            <a:ext cx="4445540" cy="6451443"/>
          </a:xfrm>
          <a:custGeom>
            <a:avLst/>
            <a:gdLst>
              <a:gd name="connsiteX0" fmla="*/ 0 w 4445540"/>
              <a:gd name="connsiteY0" fmla="*/ 0 h 6451443"/>
              <a:gd name="connsiteX1" fmla="*/ 4445540 w 4445540"/>
              <a:gd name="connsiteY1" fmla="*/ 0 h 6451443"/>
              <a:gd name="connsiteX2" fmla="*/ 4445540 w 4445540"/>
              <a:gd name="connsiteY2" fmla="*/ 6451443 h 6451443"/>
              <a:gd name="connsiteX3" fmla="*/ 0 w 4445540"/>
              <a:gd name="connsiteY3" fmla="*/ 6451443 h 645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540" h="6451443">
                <a:moveTo>
                  <a:pt x="0" y="0"/>
                </a:moveTo>
                <a:lnTo>
                  <a:pt x="4445540" y="0"/>
                </a:lnTo>
                <a:lnTo>
                  <a:pt x="4445540" y="6451443"/>
                </a:lnTo>
                <a:lnTo>
                  <a:pt x="0" y="6451443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E64CEC-D9C3-D330-8F47-628A92E9ABC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100538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309C7D38-9FF8-6C4D-A76D-C1D44972A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3016"/>
          <a:stretch>
            <a:fillRect/>
          </a:stretch>
        </p:blipFill>
        <p:spPr>
          <a:xfrm>
            <a:off x="7388774" y="512064"/>
            <a:ext cx="5035836" cy="6345936"/>
          </a:xfrm>
          <a:custGeom>
            <a:avLst/>
            <a:gdLst>
              <a:gd name="connsiteX0" fmla="*/ 0 w 5035836"/>
              <a:gd name="connsiteY0" fmla="*/ 0 h 6345936"/>
              <a:gd name="connsiteX1" fmla="*/ 5035836 w 5035836"/>
              <a:gd name="connsiteY1" fmla="*/ 0 h 6345936"/>
              <a:gd name="connsiteX2" fmla="*/ 5035836 w 5035836"/>
              <a:gd name="connsiteY2" fmla="*/ 880638 h 6345936"/>
              <a:gd name="connsiteX3" fmla="*/ 4803226 w 5035836"/>
              <a:gd name="connsiteY3" fmla="*/ 880638 h 6345936"/>
              <a:gd name="connsiteX4" fmla="*/ 4803226 w 5035836"/>
              <a:gd name="connsiteY4" fmla="*/ 6345936 h 6345936"/>
              <a:gd name="connsiteX5" fmla="*/ 0 w 5035836"/>
              <a:gd name="connsiteY5" fmla="*/ 6345936 h 6345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35836" h="6345936">
                <a:moveTo>
                  <a:pt x="0" y="0"/>
                </a:moveTo>
                <a:lnTo>
                  <a:pt x="5035836" y="0"/>
                </a:lnTo>
                <a:lnTo>
                  <a:pt x="5035836" y="880638"/>
                </a:lnTo>
                <a:lnTo>
                  <a:pt x="4803226" y="880638"/>
                </a:lnTo>
                <a:lnTo>
                  <a:pt x="4803226" y="6345936"/>
                </a:lnTo>
                <a:lnTo>
                  <a:pt x="0" y="6345936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EE0A995-3A03-E488-2DE7-FB5CBF54FC2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5558538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3680CE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Gilroy Medium" panose="00000600000000000000" pitchFamily="50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383AE73-A754-7B0F-0503-8F9A15D171DE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28" t="5197" r="60034" b="16119"/>
          <a:stretch/>
        </p:blipFill>
        <p:spPr>
          <a:xfrm>
            <a:off x="0" y="0"/>
            <a:ext cx="4610101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0A2BE27-19D4-21C5-0677-A4371A5B178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6312340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FE8701-18AC-1DDE-6FDB-A1B213C27C8A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519" t="4942" r="54239" b="11734"/>
          <a:stretch/>
        </p:blipFill>
        <p:spPr>
          <a:xfrm>
            <a:off x="0" y="0"/>
            <a:ext cx="5802284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F8AFE4-9B9D-6946-8A8B-332A60BDCD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907945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hoto/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6"/>
            <a:ext cx="3634250" cy="36418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4247FAE-F3BC-A7B3-E9DB-100FEF39B3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88117" y="0"/>
            <a:ext cx="7303883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FA5B9A31-47DC-482D-ABBA-D2E3E87CF5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800" y="7248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3C471A95-A226-5D96-1264-63E47463E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800" y="2106461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A2D0DDB-D0DD-0619-593D-81C91863F7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800" y="34823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DB128B8D-4433-B2D3-8692-380FB8447E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800" y="4806292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07E4918-859A-C015-91FC-7468161E3D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7248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58279B1-5F88-9920-6B86-FF48038CE1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106461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0E99209E-3FB0-B917-35E1-04FED0526B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4823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02189042-D8A9-0154-C2F2-0B0CED24A6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4806292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68577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Sustainability">
    <p:bg>
      <p:bgPr>
        <a:solidFill>
          <a:srgbClr val="0F44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5D91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Gilroy Medium" panose="00000600000000000000" pitchFamily="50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4DFCD31-76F7-5A4A-C08E-4435C05FD665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02" r="42975" b="9499"/>
          <a:stretch/>
        </p:blipFill>
        <p:spPr>
          <a:xfrm>
            <a:off x="0" y="-710334"/>
            <a:ext cx="7505700" cy="7568334"/>
          </a:xfrm>
          <a:custGeom>
            <a:avLst/>
            <a:gdLst>
              <a:gd name="connsiteX0" fmla="*/ 0 w 7505700"/>
              <a:gd name="connsiteY0" fmla="*/ 0 h 7568334"/>
              <a:gd name="connsiteX1" fmla="*/ 7505700 w 7505700"/>
              <a:gd name="connsiteY1" fmla="*/ 0 h 7568334"/>
              <a:gd name="connsiteX2" fmla="*/ 7505700 w 7505700"/>
              <a:gd name="connsiteY2" fmla="*/ 7568334 h 7568334"/>
              <a:gd name="connsiteX3" fmla="*/ 0 w 7505700"/>
              <a:gd name="connsiteY3" fmla="*/ 7568334 h 7568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05700" h="7568334">
                <a:moveTo>
                  <a:pt x="0" y="0"/>
                </a:moveTo>
                <a:lnTo>
                  <a:pt x="7505700" y="0"/>
                </a:lnTo>
                <a:lnTo>
                  <a:pt x="7505700" y="7568334"/>
                </a:lnTo>
                <a:lnTo>
                  <a:pt x="0" y="7568334"/>
                </a:lnTo>
                <a:close/>
              </a:path>
            </a:pathLst>
          </a:cu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EC3E1F1-2E92-1648-74E7-AA42DA16A5B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2471474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BFDE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2B660F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 dirty="0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 dirty="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712588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235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58432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5"/>
            <a:ext cx="59006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3624408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5C1F92D-6FE9-8836-F453-891297070CFB}"/>
              </a:ext>
            </a:extLst>
          </p:cNvPr>
          <p:cNvGrpSpPr/>
          <p:nvPr userDrawn="1"/>
        </p:nvGrpSpPr>
        <p:grpSpPr>
          <a:xfrm>
            <a:off x="6074697" y="1219200"/>
            <a:ext cx="5782355" cy="4373770"/>
            <a:chOff x="1549047" y="1642531"/>
            <a:chExt cx="5782355" cy="4373770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317D88F-96E7-4AD7-BD83-7A22337F8FFC}"/>
                </a:ext>
              </a:extLst>
            </p:cNvPr>
            <p:cNvSpPr/>
            <p:nvPr/>
          </p:nvSpPr>
          <p:spPr>
            <a:xfrm>
              <a:off x="1679751" y="1775876"/>
              <a:ext cx="5511450" cy="4098849"/>
            </a:xfrm>
            <a:prstGeom prst="roundRect">
              <a:avLst>
                <a:gd name="adj" fmla="val 3589"/>
              </a:avLst>
            </a:prstGeom>
            <a:solidFill>
              <a:srgbClr val="EC9F0B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0" name="Straight Connector 29">
              <a:extLst>
                <a:ext uri="{FF2B5EF4-FFF2-40B4-BE49-F238E27FC236}">
                  <a16:creationId xmlns:a16="http://schemas.microsoft.com/office/drawing/2014/main" id="{145318AE-6408-4053-8034-1E9D1CAEE9FD}"/>
                </a:ext>
              </a:extLst>
            </p:cNvPr>
            <p:cNvSpPr/>
            <p:nvPr/>
          </p:nvSpPr>
          <p:spPr>
            <a:xfrm>
              <a:off x="4465935" y="1712631"/>
              <a:ext cx="0" cy="4208827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3" name="Straight Connector 32">
              <a:extLst>
                <a:ext uri="{FF2B5EF4-FFF2-40B4-BE49-F238E27FC236}">
                  <a16:creationId xmlns:a16="http://schemas.microsoft.com/office/drawing/2014/main" id="{00A0533C-44E6-4F69-86FF-781C7ABC43CF}"/>
                </a:ext>
              </a:extLst>
            </p:cNvPr>
            <p:cNvSpPr/>
            <p:nvPr/>
          </p:nvSpPr>
          <p:spPr>
            <a:xfrm flipH="1">
              <a:off x="1619147" y="3825301"/>
              <a:ext cx="5572054" cy="0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1C9B0DB-F070-4AA7-B572-F133C208612B}"/>
                </a:ext>
              </a:extLst>
            </p:cNvPr>
            <p:cNvSpPr/>
            <p:nvPr/>
          </p:nvSpPr>
          <p:spPr>
            <a:xfrm>
              <a:off x="4384305" y="1642531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0"/>
                  </a:moveTo>
                  <a:lnTo>
                    <a:pt x="0" y="226"/>
                  </a:lnTo>
                  <a:lnTo>
                    <a:pt x="262" y="226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67529EF-0A17-43D4-A9BD-2D0E4264C893}"/>
                </a:ext>
              </a:extLst>
            </p:cNvPr>
            <p:cNvSpPr/>
            <p:nvPr/>
          </p:nvSpPr>
          <p:spPr>
            <a:xfrm>
              <a:off x="7191201" y="3744296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226" y="130"/>
                  </a:moveTo>
                  <a:lnTo>
                    <a:pt x="0" y="0"/>
                  </a:lnTo>
                  <a:lnTo>
                    <a:pt x="0" y="261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725938-EC3E-44B4-9EB5-41DD24B79310}"/>
                </a:ext>
              </a:extLst>
            </p:cNvPr>
            <p:cNvSpPr/>
            <p:nvPr/>
          </p:nvSpPr>
          <p:spPr>
            <a:xfrm>
              <a:off x="4384305" y="5876100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226"/>
                  </a:move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2C6845F-090B-40B0-A362-7A15965D38E0}"/>
                </a:ext>
              </a:extLst>
            </p:cNvPr>
            <p:cNvSpPr/>
            <p:nvPr/>
          </p:nvSpPr>
          <p:spPr>
            <a:xfrm>
              <a:off x="1549047" y="3759251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0" y="130"/>
                  </a:moveTo>
                  <a:lnTo>
                    <a:pt x="226" y="261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</p:grp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4EDABC-D71B-7C1F-8A30-770BAE0FC7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76182" y="5768854"/>
            <a:ext cx="456988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39B2A47-934D-5374-A0F4-C07FE9977E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3754620" y="3223456"/>
            <a:ext cx="410694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91AD4326-F4E9-9C47-2DA9-4993909B6E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401" y="1635778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E1810209-D8A6-FD38-26E5-67C424E5E7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91272" y="1635778"/>
            <a:ext cx="2725580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F83BD9B-E629-9B75-7C70-7525AED611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540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3E116D7F-5F53-06D7-CE87-23C28CF9057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9127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7C12A7B-9EF8-AEDF-2575-EA5DA7BEF6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6267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4B65FD40-169F-F326-47E8-1432DD48D5E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1824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4FA2F5BF-753D-6582-5F26-C36630AB82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6267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8D063A49-5C1A-306D-511F-8662285612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824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691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635876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7" y="5768975"/>
            <a:ext cx="6358762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635876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516158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CCA079-F015-9D0B-435B-8B533B1E528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967728" y="248594"/>
            <a:ext cx="4919472" cy="58855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478656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77A123-21DA-40CE-B431-92CC45964013}"/>
              </a:ext>
            </a:extLst>
          </p:cNvPr>
          <p:cNvSpPr/>
          <p:nvPr userDrawn="1"/>
        </p:nvSpPr>
        <p:spPr>
          <a:xfrm>
            <a:off x="304796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41FAAD-7AC8-731A-123A-BE82562493F6}"/>
              </a:ext>
            </a:extLst>
          </p:cNvPr>
          <p:cNvSpPr/>
          <p:nvPr userDrawn="1"/>
        </p:nvSpPr>
        <p:spPr>
          <a:xfrm>
            <a:off x="304796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AC9BC4-68A6-9698-3277-84C08E3A4FE3}"/>
              </a:ext>
            </a:extLst>
          </p:cNvPr>
          <p:cNvSpPr/>
          <p:nvPr userDrawn="1"/>
        </p:nvSpPr>
        <p:spPr>
          <a:xfrm>
            <a:off x="304796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8BE099A-50C1-905E-4C39-DB7B4D4FBE6B}"/>
              </a:ext>
            </a:extLst>
          </p:cNvPr>
          <p:cNvSpPr/>
          <p:nvPr userDrawn="1"/>
        </p:nvSpPr>
        <p:spPr>
          <a:xfrm>
            <a:off x="6548624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4FBEE3E-9113-6772-A9D0-E842B248D267}"/>
              </a:ext>
            </a:extLst>
          </p:cNvPr>
          <p:cNvSpPr/>
          <p:nvPr userDrawn="1"/>
        </p:nvSpPr>
        <p:spPr>
          <a:xfrm>
            <a:off x="6548624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F44D307-3B59-B3A7-B673-5E599BB053D3}"/>
              </a:ext>
            </a:extLst>
          </p:cNvPr>
          <p:cNvSpPr/>
          <p:nvPr userDrawn="1"/>
        </p:nvSpPr>
        <p:spPr>
          <a:xfrm>
            <a:off x="6548624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E352DA-FF04-36BF-CDB8-9D168B369D23}"/>
              </a:ext>
            </a:extLst>
          </p:cNvPr>
          <p:cNvCxnSpPr/>
          <p:nvPr userDrawn="1"/>
        </p:nvCxnSpPr>
        <p:spPr>
          <a:xfrm>
            <a:off x="5822731" y="2144110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08CA50-6DC2-DB93-2A7F-967901CC7BFC}"/>
              </a:ext>
            </a:extLst>
          </p:cNvPr>
          <p:cNvCxnSpPr>
            <a:cxnSpLocks/>
          </p:cNvCxnSpPr>
          <p:nvPr userDrawn="1"/>
        </p:nvCxnSpPr>
        <p:spPr>
          <a:xfrm>
            <a:off x="5822731" y="3676648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5482F3-BE7A-6063-3F74-E7CFE37C5D68}"/>
              </a:ext>
            </a:extLst>
          </p:cNvPr>
          <p:cNvCxnSpPr>
            <a:cxnSpLocks/>
          </p:cNvCxnSpPr>
          <p:nvPr userDrawn="1"/>
        </p:nvCxnSpPr>
        <p:spPr>
          <a:xfrm>
            <a:off x="5822731" y="5183186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61755C0-BE8F-2307-55C1-F1CF08EC24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438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9E63985-202E-44C4-FEF8-9D09D8A725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438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4A33675-CF40-5496-4117-515D5D08FE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438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CA7CEAA-CD1C-AE53-D999-47F849F9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26621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57D78F3C-11F0-1F5A-39DD-CA19C0DCE5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26621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7DD4C1D-1F57-6816-8675-584DA58C24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6621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71594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16DBBF03-925F-AA70-F5DD-CD9F7BC1E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4800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304E06D-D9A7-FA86-D8D8-C47056B56C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800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3E0B630-9DB0-EEDA-A570-6BAE8F21570B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1FAC5E-ABB5-EB4E-AEC8-1FBF0208D1D3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19676C-DE24-382F-60F2-14920C2F6B5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28EDD5-B8CE-BBFF-1FD4-3DE14BE01FA3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EC1C47B-72E7-C8D7-5E59-9263FEFFD44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C405638-6C59-2CB0-7CF0-0718DB4028D8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EFA489-93C3-3250-1276-8A57886E33D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213B9ED-5B5D-76A0-A456-2075B3BDBCC5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64A79D3-DFB3-1710-FD97-92387564B20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0C18AA2-5B78-23EE-95B8-C19EAF32F68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F63F77E-4785-1721-68FE-96FC150F077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DC4BB03-8D95-F56E-D208-32295AEE0681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C413682-5E99-FF2E-418D-2BCDEAF26C8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8FAE6FC-BE78-2CE4-8B5A-68CA06047269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9219B-2206-0A76-0918-45DE2AC7612C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8C9796-37C1-8A9C-0542-78731590614C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5417AECC-9BC0-45D9-566E-A8AE8F662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over Slide 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31A0C-C119-9375-9E5D-9A81BDD66D1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A7AE4C7-DD71-97A4-87D5-9F07C31D7D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020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i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7" name="Table Placeholder 86">
            <a:extLst>
              <a:ext uri="{FF2B5EF4-FFF2-40B4-BE49-F238E27FC236}">
                <a16:creationId xmlns:a16="http://schemas.microsoft.com/office/drawing/2014/main" id="{1158F129-D433-505A-834D-F1C3765D3DB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04800" y="1219200"/>
            <a:ext cx="11582400" cy="43815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0518659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F907908-FD27-6EBB-EF57-3A8A63BEA8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21142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36">
            <a:extLst>
              <a:ext uri="{FF2B5EF4-FFF2-40B4-BE49-F238E27FC236}">
                <a16:creationId xmlns:a16="http://schemas.microsoft.com/office/drawing/2014/main" id="{1F8816AA-0C4B-5FCB-874A-6B1A61B8F2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16024" y="1661854"/>
            <a:ext cx="1137122" cy="1139753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6">
            <a:extLst>
              <a:ext uri="{FF2B5EF4-FFF2-40B4-BE49-F238E27FC236}">
                <a16:creationId xmlns:a16="http://schemas.microsoft.com/office/drawing/2014/main" id="{605A5A87-0D4E-520E-B859-0E375CDF52D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73364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6">
            <a:extLst>
              <a:ext uri="{FF2B5EF4-FFF2-40B4-BE49-F238E27FC236}">
                <a16:creationId xmlns:a16="http://schemas.microsoft.com/office/drawing/2014/main" id="{093DCEF5-69FD-9757-09A8-261C134734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27438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6">
            <a:extLst>
              <a:ext uri="{FF2B5EF4-FFF2-40B4-BE49-F238E27FC236}">
                <a16:creationId xmlns:a16="http://schemas.microsoft.com/office/drawing/2014/main" id="{A5520BD3-FC13-0F18-FBD0-1F903A2423D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781512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6">
            <a:extLst>
              <a:ext uri="{FF2B5EF4-FFF2-40B4-BE49-F238E27FC236}">
                <a16:creationId xmlns:a16="http://schemas.microsoft.com/office/drawing/2014/main" id="{7E748CC5-F80E-F45D-8C3A-966D944F439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042120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531D2E60-3E17-7047-42B5-498FEE3EB36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9740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1">
            <a:extLst>
              <a:ext uri="{FF2B5EF4-FFF2-40B4-BE49-F238E27FC236}">
                <a16:creationId xmlns:a16="http://schemas.microsoft.com/office/drawing/2014/main" id="{FD48FB29-192A-57E7-6DEA-AB4C616761F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1154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28647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  <a:noFill/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104D2EB8-360F-1512-645B-A1B5AE954F2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59740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62716F3F-8545-C3AD-DE74-223356DA57D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71154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9D9F75A-F491-F816-6076-836525B860C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688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A7E14FC-7151-E0BE-7AFD-D2E2D62E77B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59740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65E48B52-9006-142D-7F0F-E7718BFCB96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11201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1B992765-5469-81A6-394B-1D35C789F82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6690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4C86F0EB-4936-76A8-9E93-08E6C3DDDF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22617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824D7A2-0A2F-B7D0-A97A-A422D087D5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20843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86691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70">
            <a:extLst>
              <a:ext uri="{FF2B5EF4-FFF2-40B4-BE49-F238E27FC236}">
                <a16:creationId xmlns:a16="http://schemas.microsoft.com/office/drawing/2014/main" id="{D5EE4931-6768-D7C6-B027-6E20839491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67053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0F440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5" name="Freeform 70">
            <a:extLst>
              <a:ext uri="{FF2B5EF4-FFF2-40B4-BE49-F238E27FC236}">
                <a16:creationId xmlns:a16="http://schemas.microsoft.com/office/drawing/2014/main" id="{5C7026B2-F8D8-FAB2-1088-B31F96540B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50804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5D910D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4" name="Freeform 70">
            <a:extLst>
              <a:ext uri="{FF2B5EF4-FFF2-40B4-BE49-F238E27FC236}">
                <a16:creationId xmlns:a16="http://schemas.microsoft.com/office/drawing/2014/main" id="{5186F264-49D3-4090-823A-02893CD72C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731250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3680C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reeform 70">
            <a:extLst>
              <a:ext uri="{FF2B5EF4-FFF2-40B4-BE49-F238E27FC236}">
                <a16:creationId xmlns:a16="http://schemas.microsoft.com/office/drawing/2014/main" id="{AC3006C4-BF8C-8B98-57E0-4C75052BF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7636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EC9F0B"/>
          </a:solidFill>
          <a:ln>
            <a:solidFill>
              <a:srgbClr val="EC9F0B"/>
            </a:solidFill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C4BDBAB-14DB-197F-8EA1-A4026CDC5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0263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C3DFAD5D-F262-E524-900F-B81C0FA826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48324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8F99D252-4EB7-03DB-8C58-53B69DD87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9251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A2DE66A0-1FC8-776D-2462-D49E64DC1A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01852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Picture Placeholder 36">
            <a:extLst>
              <a:ext uri="{FF2B5EF4-FFF2-40B4-BE49-F238E27FC236}">
                <a16:creationId xmlns:a16="http://schemas.microsoft.com/office/drawing/2014/main" id="{D08A5CBB-3497-CA70-D127-FA55FDAC51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49240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29B0CE01-1AEF-7DC2-5A09-00BFA065DFED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6282073" y="-2841222"/>
            <a:ext cx="12700" cy="9049417"/>
          </a:xfrm>
          <a:prstGeom prst="bentConnector3">
            <a:avLst>
              <a:gd name="adj1" fmla="val 1800000"/>
            </a:avLst>
          </a:prstGeom>
          <a:ln w="22225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058BB28F-B3C4-241F-51D9-6B9A6C5D832E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6294244" y="1124443"/>
            <a:ext cx="12700" cy="9049417"/>
          </a:xfrm>
          <a:prstGeom prst="bentConnector3">
            <a:avLst>
              <a:gd name="adj1" fmla="val 2769236"/>
            </a:avLst>
          </a:prstGeom>
          <a:ln w="22225" cap="rnd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36">
            <a:extLst>
              <a:ext uri="{FF2B5EF4-FFF2-40B4-BE49-F238E27FC236}">
                <a16:creationId xmlns:a16="http://schemas.microsoft.com/office/drawing/2014/main" id="{9713158F-8810-66D4-768E-CBBC238CE34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6784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6">
            <a:extLst>
              <a:ext uri="{FF2B5EF4-FFF2-40B4-BE49-F238E27FC236}">
                <a16:creationId xmlns:a16="http://schemas.microsoft.com/office/drawing/2014/main" id="{2396E205-D7EC-5B8B-C662-D776223185C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5736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6">
            <a:extLst>
              <a:ext uri="{FF2B5EF4-FFF2-40B4-BE49-F238E27FC236}">
                <a16:creationId xmlns:a16="http://schemas.microsoft.com/office/drawing/2014/main" id="{292F6024-F61C-4204-37DB-DAD42342B0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43280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8BF3F9C-F0C7-4109-DB00-AF74113D61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0898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EC9F0B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37CBEA-5986-8685-64C5-183A3630D1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95452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3680C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075EE09-9833-7B6A-B2A7-B69759074A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20006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5D910D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7D74A55F-30E7-13F2-182C-700DAD28FC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30492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0F440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1863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+ Copy - Dr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Chart Placeholder 10">
            <a:extLst>
              <a:ext uri="{FF2B5EF4-FFF2-40B4-BE49-F238E27FC236}">
                <a16:creationId xmlns:a16="http://schemas.microsoft.com/office/drawing/2014/main" id="{36135DED-36D8-99A2-BEEE-C339F63E6A0A}"/>
              </a:ext>
            </a:extLst>
          </p:cNvPr>
          <p:cNvSpPr>
            <a:spLocks noGrp="1"/>
          </p:cNvSpPr>
          <p:nvPr>
            <p:ph type="chart" sz="quarter" idx="49"/>
          </p:nvPr>
        </p:nvSpPr>
        <p:spPr>
          <a:xfrm>
            <a:off x="304796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C648F1-B735-FA9C-BE4E-ED579776AE4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4800" y="4419601"/>
            <a:ext cx="3657584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91085A7-EBBF-EF8B-5149-D4D78AF6BD7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267186" y="4419601"/>
            <a:ext cx="3657613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CF2C88-E784-B887-29C6-C86ABDAE698A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229600" y="4419601"/>
            <a:ext cx="3657595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26CFC927-54B7-C5B7-E60C-38D6EE901D32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4258242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10">
            <a:extLst>
              <a:ext uri="{FF2B5EF4-FFF2-40B4-BE49-F238E27FC236}">
                <a16:creationId xmlns:a16="http://schemas.microsoft.com/office/drawing/2014/main" id="{E65CED6F-0B77-30C6-E22C-B8883C7FCB67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29600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CAB205B-7C1F-D7A8-3195-63BC12963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CB2AD6C-5A9B-8507-463D-FF555734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926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026F0-9A71-4943-65F5-E58B0C965B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84C1C78-E80E-CE37-55BF-58BA7EFEC2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F3F8FA-B30E-7AC5-CF2D-2A2C4C6FC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3137B60-E4D6-4FD2-452F-AD9D3FECC74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2030FF7A-E0AE-C652-5648-E29D0838184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C63A6B7-9DBF-037C-DD66-D4DBFC1C28E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C4DBECC-B53C-2396-C7B9-9A2426CCBF9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F238CD9-CBB1-200B-EEB7-AFFDC9E7C8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AC83664-26A4-BA40-BB5D-4F5C9AF474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403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F4FE5B-5F8E-E216-8BAC-205762A75B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F50471-D763-CA74-F405-ACED46EF9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971E76-12A2-661B-FACD-6C21237167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DA9835B-7401-6A30-DB0D-556D82CC1C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D93165F-4D89-0A5D-42C0-4B0473883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E55602C-2E66-B61E-5328-5197ECE6FB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B8970E3-7DB7-69DE-D268-492514798D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CB0A2EA7-5E6B-6FF9-6A4C-514C001B504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8CB30A6-5EBD-6EB9-4006-EA1B753AF36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9ED78051-C642-9122-8309-5C44484415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5231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83D448A-6F6D-AC3B-84E0-08CFA264E6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BB5861-B329-94C3-77C3-73ACFD6B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0783CDD-F837-985F-76FF-3AB1E77A7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97ACC2D7-BA04-CC20-035A-4772F0350B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5F31268-C508-3A95-9A32-51868208C0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FE2062E-A5C1-AAEA-E6C1-24379AAE24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D994C4-6938-6D1F-0427-0B49992B19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B57E41C-690C-87FE-F584-1CE0ECBACCF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A951E57E-B01C-4174-8B55-EE0BDDF568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B75A417-2475-713F-DF45-707F7C024F0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2464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C242FB5-CA88-5E19-554B-3FD70267B219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0F440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DC08E4-2FCD-7E6B-9E00-26ABFC93A4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847AB5-08EA-07FD-0B81-21C938719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E70F598-C502-C221-1607-85AB67ABC5F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8770D10-DB1B-82BC-4773-84D65D9AB0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3018F0D-82E2-3CE3-117E-EA35207570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6D03C6E-A2E1-A64B-59C5-392BB03CC1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5D910D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5D910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5D910D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5D910D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5D910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B86542C-5E5D-6CE9-9E99-34153337B8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114FD4-D5F5-3D03-6669-3F48F8814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892F1AEB-8046-A2D4-30CA-7197BC53E8B3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6CD31BC9-DEED-705E-596F-90F3784F50F8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A59ABE3-4718-4CF9-913B-381023AB3DF7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A0F92C-6587-9C26-0375-0E086FC9C6AA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84095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880ABD7-63A3-149D-EFF7-B32FDE7C29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202B41A-200F-AD75-559D-2217CB9A6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E892A7C-B52D-3C5E-8BC0-444AB8B58F8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1BE445-FE6F-80E5-97A3-05F180D85E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0FC361C-D19E-353F-1EEF-25A27245D0F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5578B12E-AFB0-AB96-9625-C82B6F6865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F6D3F89-0198-D2ED-6F48-832A6A88EF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CE98802-78D1-57AB-ECF7-FEEAD05FF7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C2C2217-6493-1FAC-9488-2033B835EA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58227F53-8006-920F-512B-FC96A76B02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F4A8350-CD02-3A22-20B6-716A895097DF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BAB2F5A-F69D-27C9-B35B-A62B35F9ADA2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ECD4345-CE30-964A-B676-BF420540755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4C02C5-9B59-E560-D00D-327EEC4E8C55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0557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2355A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58839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C6ADB45-91F8-32E5-F50D-E393F14F3E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DA0642C-B147-E66E-9356-BF91633B6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58F267-C587-52A9-0895-3E4CE0DA016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05E962-95EF-2CCF-FD9A-ECC80C1E67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5E8A4C-75B3-412F-228E-95549DC6F35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2D6D21F-7FDC-0675-E9BF-D1D2D29BAF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E11E3FC-67CF-2551-D67F-E05C32CAF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74BE8BB-0D0A-465A-ED82-FBC87AD814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ACB5F87-ADB0-2792-060F-C23FAB8C45D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D2327EE9-30F6-5C8B-92DA-A3DA5FA456A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535CEC-D80E-8E74-90E9-798ED8ADC861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971BC4E-E41E-458B-BE9D-BE383375DDBD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7BFB918-C2D6-C89D-ACFC-822FA25B59B1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6A19E87-5517-9FC2-7EDE-67316D02951D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268815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890638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+Bullet -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5024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71A9E3"/>
                </a:solidFill>
                <a:latin typeface="+mn-lt"/>
              </a:defRPr>
            </a:lvl2pPr>
            <a:lvl3pPr>
              <a:defRPr>
                <a:solidFill>
                  <a:srgbClr val="71A9E3"/>
                </a:solidFill>
                <a:latin typeface="+mn-lt"/>
              </a:defRPr>
            </a:lvl3pPr>
            <a:lvl4pPr>
              <a:defRPr>
                <a:solidFill>
                  <a:srgbClr val="71A9E3"/>
                </a:solidFill>
                <a:latin typeface="+mn-lt"/>
              </a:defRPr>
            </a:lvl4pPr>
            <a:lvl5pPr>
              <a:defRPr>
                <a:solidFill>
                  <a:srgbClr val="71A9E3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903786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28369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931363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51775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D493E6C-673E-8ADB-07B5-8A9A583E28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0E534B-1328-9573-C510-DF01837DD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B745233-8242-6501-BDD1-6A066F19F8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09716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5E90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DF40BA9-9DA8-1704-98B3-11192E6394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171AAEC-79CE-8340-6FC6-574C7C43A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A060F503-A312-5007-5FB9-D49F373B4C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06663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-T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ABE5B3-470A-4DEB-9F72-3889582A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269740"/>
            <a:ext cx="5187687" cy="4009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800" y="5768975"/>
            <a:ext cx="518769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0"/>
            <a:ext cx="5187691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 sz="12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33EA97-DEBE-C07E-0A6E-2C52FBDC8BF2}"/>
              </a:ext>
            </a:extLst>
          </p:cNvPr>
          <p:cNvSpPr/>
          <p:nvPr userDrawn="1"/>
        </p:nvSpPr>
        <p:spPr>
          <a:xfrm>
            <a:off x="6095998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DE32CAC8-7CBB-93A4-FE78-B76DE7A0515E}"/>
              </a:ext>
            </a:extLst>
          </p:cNvPr>
          <p:cNvSpPr txBox="1">
            <a:spLocks/>
          </p:cNvSpPr>
          <p:nvPr userDrawn="1"/>
        </p:nvSpPr>
        <p:spPr>
          <a:xfrm>
            <a:off x="6400797" y="5768975"/>
            <a:ext cx="5486405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DDCEEA0-CC92-ADFC-3AE4-D23CA67105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0794" y="1219200"/>
            <a:ext cx="5187689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200">
                <a:solidFill>
                  <a:schemeClr val="bg1"/>
                </a:solidFill>
                <a:latin typeface="+mn-lt"/>
              </a:defRPr>
            </a:lvl4pPr>
            <a:lvl5pP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riangle 22">
            <a:extLst>
              <a:ext uri="{FF2B5EF4-FFF2-40B4-BE49-F238E27FC236}">
                <a16:creationId xmlns:a16="http://schemas.microsoft.com/office/drawing/2014/main" id="{F30ADE9A-4C5E-2D90-A385-B666A1B8DB8E}"/>
              </a:ext>
            </a:extLst>
          </p:cNvPr>
          <p:cNvSpPr/>
          <p:nvPr userDrawn="1"/>
        </p:nvSpPr>
        <p:spPr>
          <a:xfrm rot="5400000">
            <a:off x="5670305" y="3257223"/>
            <a:ext cx="851390" cy="376122"/>
          </a:xfrm>
          <a:prstGeom prst="triangle">
            <a:avLst>
              <a:gd name="adj" fmla="val 50766"/>
            </a:avLst>
          </a:prstGeom>
          <a:solidFill>
            <a:schemeClr val="tx2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FF21BC3-6CCA-C456-3B0A-6B16ED2F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794" y="199945"/>
            <a:ext cx="5187690" cy="429397"/>
          </a:xfrm>
        </p:spPr>
        <p:txBody>
          <a:bodyPr/>
          <a:lstStyle>
            <a:lvl1pPr>
              <a:defRPr lang="en-US" sz="3200" b="1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0261DA-335E-CD8E-DD2C-DA8B5FFADE6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61569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F52B395-E324-C350-A724-74D5490A0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BC1DA6A-7A47-6758-B9D8-709144560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2567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Universal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145798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21629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11843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2DBE87-4405-F3CD-9E1A-0AB2F0FA1A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688" y="1219200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280F5E-74CC-98D2-7A49-093D2CF6B2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688" y="2574888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75DAA2E-1A7B-0209-4979-AE7C94A036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1688" y="3930576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D78311-4CC6-636F-837D-EEA883F21D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338" y="1219200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B441E31-BF1D-AA0C-C5FB-DF20E29DB5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1338" y="2574888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F78DB37-E4D6-9295-325E-6FFD2BE7F7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1338" y="3930576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5447B70-0D32-5005-C25E-A71D7563D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8E49524-CA80-7F34-D4E5-CC7E4BC57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60712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74AD4FF-798E-DDD9-414C-962521CD9A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9028C9D-C44D-C775-287E-01E9AE906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96764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48399" y="248594"/>
            <a:ext cx="5638802" cy="53902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47B98CD-AC1E-E6C0-C7B4-1B8FD18FCA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56388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7D8C6F-44C5-DAF3-23C9-0323B4C1B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48594"/>
            <a:ext cx="5638800" cy="475306"/>
          </a:xfrm>
        </p:spPr>
        <p:txBody>
          <a:bodyPr anchor="t" anchorCtr="0"/>
          <a:lstStyle/>
          <a:p>
            <a:r>
              <a:rPr lang="en-US"/>
              <a:t>Click to title</a:t>
            </a:r>
          </a:p>
        </p:txBody>
      </p:sp>
    </p:spTree>
    <p:extLst>
      <p:ext uri="{BB962C8B-B14F-4D97-AF65-F5344CB8AC3E}">
        <p14:creationId xmlns:p14="http://schemas.microsoft.com/office/powerpoint/2010/main" val="22861295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7751" y="1219200"/>
            <a:ext cx="5489449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Chart Placeholder 3">
            <a:extLst>
              <a:ext uri="{FF2B5EF4-FFF2-40B4-BE49-F238E27FC236}">
                <a16:creationId xmlns:a16="http://schemas.microsoft.com/office/drawing/2014/main" id="{00B4BC49-B99B-1177-E500-12757729D6F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04800" y="1219200"/>
            <a:ext cx="5489448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5204B2-C25E-54D8-44CC-ABA38DAF6914}"/>
              </a:ext>
            </a:extLst>
          </p:cNvPr>
          <p:cNvCxnSpPr/>
          <p:nvPr userDrawn="1"/>
        </p:nvCxnSpPr>
        <p:spPr>
          <a:xfrm>
            <a:off x="6096000" y="1219200"/>
            <a:ext cx="0" cy="441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3BB8363-5EEA-956C-441D-06AAB0B850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115824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C373C31-DBB3-2208-A521-999FF953D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1158240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077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Picture Placeholder 50">
            <a:extLst>
              <a:ext uri="{FF2B5EF4-FFF2-40B4-BE49-F238E27FC236}">
                <a16:creationId xmlns:a16="http://schemas.microsoft.com/office/drawing/2014/main" id="{E1158365-DD41-790A-BEFB-4191AF8CA27A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 flipH="1">
            <a:off x="301752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50">
            <a:extLst>
              <a:ext uri="{FF2B5EF4-FFF2-40B4-BE49-F238E27FC236}">
                <a16:creationId xmlns:a16="http://schemas.microsoft.com/office/drawing/2014/main" id="{648A33B1-F67C-635E-1912-D01AEF232C52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 flipH="1">
            <a:off x="4222376" y="3529321"/>
            <a:ext cx="3769455" cy="259057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0">
            <a:extLst>
              <a:ext uri="{FF2B5EF4-FFF2-40B4-BE49-F238E27FC236}">
                <a16:creationId xmlns:a16="http://schemas.microsoft.com/office/drawing/2014/main" id="{9477BE40-9125-CCF0-D9F2-A29731F77AE4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 flipH="1">
            <a:off x="4209606" y="701964"/>
            <a:ext cx="3769455" cy="257068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0">
            <a:extLst>
              <a:ext uri="{FF2B5EF4-FFF2-40B4-BE49-F238E27FC236}">
                <a16:creationId xmlns:a16="http://schemas.microsoft.com/office/drawing/2014/main" id="{56FCF207-0EA6-4BF7-0A42-068E64A0C6F5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>
          <a:xfrm flipH="1">
            <a:off x="8283374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BEF2E3-ABE2-A4E6-B1FD-D8E2470217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37392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04800" y="1219200"/>
            <a:ext cx="11582401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DFE36E9-714D-992A-9553-63C3133B38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3F7F31-4B83-C3E8-EB1D-FD6C87B2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338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2235FC-2BFF-D2F6-B24B-8A0CB7A0369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54811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18517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Takeaways Dr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4148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chemeClr val="accent5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4A42F8D-FD45-1020-AE77-8199A0C7654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719D273-2584-873C-0535-6C85EA591315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577CC8-E137-F371-4009-884CF36161C4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4CAC497-AF23-588E-91F9-154DE741A891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BEA982-B3FB-D392-3292-2CA950BD90F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6EBD14B-3DDF-E332-200E-E7308C2C1AE0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0B773D-90CF-5739-25AD-7F426773B3F3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ED92367-2C65-6CBC-746B-98FEA4E55E5A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90E16E-CE31-49A7-461B-D7A0B24E83A2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1C10AC1-0A43-8631-16CD-7764F1C7857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43EA04E-7926-0CA3-309A-E149CA3360E5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0F44EE-08C7-80E6-562B-899667C69CFD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A233AD-D8F8-1A88-D470-F569F2A1D8FC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70B00F3-F0B6-5650-606A-C84EE3FFD33A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DE820D6-2006-4CDA-7018-0C4035E266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17D2BBE-9F1F-FCFD-9C6A-89EDE2831FFD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02570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2B886-E61E-7BB4-B0DD-DC2FF24EAF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091826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Takeaways Drink">
    <p:bg>
      <p:bgPr>
        <a:solidFill>
          <a:srgbClr val="FB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E60B6A-192B-3529-D749-1EF72AE9094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658924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FCBFFC2-1D04-EF48-A388-95DB2B2160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3D484A-938C-B017-C04F-A83D0A578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9819057-E5D7-F5B5-80B8-9D7ACF1BA5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CD7C8C64-7DA7-695D-77FD-154A303646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528AFB-3CA6-BE65-81A7-B0D1C091938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11907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50AA3F9-21A5-E27D-8950-EB829485AA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99C0A931-72BC-0356-B06E-B975330614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59207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52EE75-7A55-5193-C356-31AD2386985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99215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9D29EE-A3C0-3200-A5BC-DB78A9C5B0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4A8199-D7C3-8C1A-9917-6F4FFF77C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6CBAC9C-3270-8C3D-55F7-B20DEA5AB3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45DEAD8-0715-5FF7-F4B8-BBD1F23C74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7025DC-7B04-F2E8-D156-8564266B8B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D77FFD-F9B9-3CCA-A145-F23B5D2C2FA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58664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67106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FD43D8-0728-76B9-5BEC-721CBA413DB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72637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42EAE78A-A977-01CA-A116-2B9E201DFA70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B81C1A-BF3A-436C-E104-9E52FC208E4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7359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AF816B51-0B2B-07F2-FCB3-11207A3D0955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EF998D-D59B-1F7C-942E-1E40A1E67A5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0059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4B9A5-FB58-9A71-6414-BEBF4B1F0F2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95ECE8-5DA8-F866-3420-5F3CE342DE8A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069D75-D039-B5DD-8AD3-576FE5416A95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B98D7F-52AD-8D84-3521-2E7F8620335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7BD8B7-0EA8-211E-0FA4-389B9680477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00246A-25E4-0F73-A740-AEC49B4E3DA6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17F129-3242-92C8-6057-D90FE763DCA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5BE8FC-4451-27D0-D345-3D31B4565E8F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8A8E7A-F1F4-E928-A267-92C93713E35D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A9BE32-7A76-0026-F37A-EAA381109217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28412D1-5B92-3139-AE86-D49C38CEAD86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A038C-A6AC-33E5-7729-8CDB678B8FB2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DFCD51-E558-F7F4-2E02-88E9E9FD9BF1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992AE7-9A4C-8593-75B9-D2606DF865E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E9C2836-EE8B-CF72-4233-9EC9DDED8D5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A64C47-A537-F05D-E667-A1CF358340B8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43991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81066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C019705-392E-1513-A73C-8B73FBF443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8399" y="304801"/>
            <a:ext cx="5638801" cy="5829300"/>
          </a:xfrm>
          <a:prstGeom prst="roundRect">
            <a:avLst>
              <a:gd name="adj" fmla="val 2768"/>
            </a:avLst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19200"/>
            <a:ext cx="5638799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3379788"/>
            <a:ext cx="5638800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7CE26B-FE56-D52E-D936-DE13DCDBD4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4029076"/>
            <a:ext cx="5638799" cy="2109258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  <a:lvl2pPr>
              <a:defRPr sz="1400">
                <a:solidFill>
                  <a:schemeClr val="tx2"/>
                </a:solidFill>
                <a:latin typeface="+mn-lt"/>
              </a:defRPr>
            </a:lvl2pPr>
            <a:lvl3pPr>
              <a:defRPr sz="1200">
                <a:solidFill>
                  <a:schemeClr val="tx2"/>
                </a:solidFill>
                <a:latin typeface="+mn-lt"/>
              </a:defRPr>
            </a:lvl3pPr>
            <a:lvl4pPr>
              <a:defRPr sz="1100">
                <a:solidFill>
                  <a:schemeClr val="tx2"/>
                </a:solidFill>
                <a:latin typeface="+mn-lt"/>
              </a:defRPr>
            </a:lvl4pPr>
            <a:lvl5pPr>
              <a:defRPr sz="105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824375-C552-8786-CB9F-47605F8904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16942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4CDE6CA2-CEA1-4A7E-3B9D-7B997AF6C8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533584"/>
            <a:ext cx="842066" cy="74980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26431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CBBC66A-E42E-141A-B875-8977010259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5" y="415635"/>
            <a:ext cx="843534" cy="7498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28578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0F440D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DDDE28-076A-30B3-3A87-D22CCDE420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2303132-93C3-B58B-51CF-9C0FED7206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498078"/>
            <a:ext cx="658705" cy="7483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F7EF99-1424-2925-FC60-5D8A1725D73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2630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Drink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2355A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F30E4F8F-C6C8-F57D-0CDA-4E4AE1731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3342" b="34504"/>
          <a:stretch>
            <a:fillRect/>
          </a:stretch>
        </p:blipFill>
        <p:spPr>
          <a:xfrm>
            <a:off x="8536804" y="535326"/>
            <a:ext cx="3655196" cy="6286381"/>
          </a:xfrm>
          <a:custGeom>
            <a:avLst/>
            <a:gdLst>
              <a:gd name="connsiteX0" fmla="*/ 0 w 3655196"/>
              <a:gd name="connsiteY0" fmla="*/ 0 h 6286381"/>
              <a:gd name="connsiteX1" fmla="*/ 3655196 w 3655196"/>
              <a:gd name="connsiteY1" fmla="*/ 0 h 6286381"/>
              <a:gd name="connsiteX2" fmla="*/ 3655196 w 3655196"/>
              <a:gd name="connsiteY2" fmla="*/ 6286381 h 6286381"/>
              <a:gd name="connsiteX3" fmla="*/ 0 w 3655196"/>
              <a:gd name="connsiteY3" fmla="*/ 6286381 h 628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5196" h="6286381">
                <a:moveTo>
                  <a:pt x="0" y="0"/>
                </a:moveTo>
                <a:lnTo>
                  <a:pt x="3655196" y="0"/>
                </a:lnTo>
                <a:lnTo>
                  <a:pt x="3655196" y="6286381"/>
                </a:lnTo>
                <a:lnTo>
                  <a:pt x="0" y="6286381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E548BC-7DFB-3A37-F824-E7E7F7C1D8D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05605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796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4262262-1774-13E8-18F1-4C24C4D04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2472" b="15247"/>
          <a:stretch>
            <a:fillRect/>
          </a:stretch>
        </p:blipFill>
        <p:spPr>
          <a:xfrm>
            <a:off x="7746460" y="406558"/>
            <a:ext cx="4445540" cy="6451443"/>
          </a:xfrm>
          <a:custGeom>
            <a:avLst/>
            <a:gdLst>
              <a:gd name="connsiteX0" fmla="*/ 0 w 4445540"/>
              <a:gd name="connsiteY0" fmla="*/ 0 h 6451443"/>
              <a:gd name="connsiteX1" fmla="*/ 4445540 w 4445540"/>
              <a:gd name="connsiteY1" fmla="*/ 0 h 6451443"/>
              <a:gd name="connsiteX2" fmla="*/ 4445540 w 4445540"/>
              <a:gd name="connsiteY2" fmla="*/ 6451443 h 6451443"/>
              <a:gd name="connsiteX3" fmla="*/ 0 w 4445540"/>
              <a:gd name="connsiteY3" fmla="*/ 6451443 h 645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540" h="6451443">
                <a:moveTo>
                  <a:pt x="0" y="0"/>
                </a:moveTo>
                <a:lnTo>
                  <a:pt x="4445540" y="0"/>
                </a:lnTo>
                <a:lnTo>
                  <a:pt x="4445540" y="6451443"/>
                </a:lnTo>
                <a:lnTo>
                  <a:pt x="0" y="6451443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E64CEC-D9C3-D330-8F47-628A92E9ABC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542400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309C7D38-9FF8-6C4D-A76D-C1D44972A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3016"/>
          <a:stretch>
            <a:fillRect/>
          </a:stretch>
        </p:blipFill>
        <p:spPr>
          <a:xfrm>
            <a:off x="7388774" y="512064"/>
            <a:ext cx="5035836" cy="6345936"/>
          </a:xfrm>
          <a:custGeom>
            <a:avLst/>
            <a:gdLst>
              <a:gd name="connsiteX0" fmla="*/ 0 w 5035836"/>
              <a:gd name="connsiteY0" fmla="*/ 0 h 6345936"/>
              <a:gd name="connsiteX1" fmla="*/ 5035836 w 5035836"/>
              <a:gd name="connsiteY1" fmla="*/ 0 h 6345936"/>
              <a:gd name="connsiteX2" fmla="*/ 5035836 w 5035836"/>
              <a:gd name="connsiteY2" fmla="*/ 880638 h 6345936"/>
              <a:gd name="connsiteX3" fmla="*/ 4803226 w 5035836"/>
              <a:gd name="connsiteY3" fmla="*/ 880638 h 6345936"/>
              <a:gd name="connsiteX4" fmla="*/ 4803226 w 5035836"/>
              <a:gd name="connsiteY4" fmla="*/ 6345936 h 6345936"/>
              <a:gd name="connsiteX5" fmla="*/ 0 w 5035836"/>
              <a:gd name="connsiteY5" fmla="*/ 6345936 h 6345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35836" h="6345936">
                <a:moveTo>
                  <a:pt x="0" y="0"/>
                </a:moveTo>
                <a:lnTo>
                  <a:pt x="5035836" y="0"/>
                </a:lnTo>
                <a:lnTo>
                  <a:pt x="5035836" y="880638"/>
                </a:lnTo>
                <a:lnTo>
                  <a:pt x="4803226" y="880638"/>
                </a:lnTo>
                <a:lnTo>
                  <a:pt x="4803226" y="6345936"/>
                </a:lnTo>
                <a:lnTo>
                  <a:pt x="0" y="6345936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EE0A995-3A03-E488-2DE7-FB5CBF54FC2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1709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3680CE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Gilroy Medium" panose="00000600000000000000" pitchFamily="50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383AE73-A754-7B0F-0503-8F9A15D171DE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28" t="5197" r="60034" b="16119"/>
          <a:stretch/>
        </p:blipFill>
        <p:spPr>
          <a:xfrm>
            <a:off x="0" y="0"/>
            <a:ext cx="4610101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0A2BE27-19D4-21C5-0677-A4371A5B178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7491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FE8701-18AC-1DDE-6FDB-A1B213C27C8A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519" t="4942" r="54239" b="11734"/>
          <a:stretch/>
        </p:blipFill>
        <p:spPr>
          <a:xfrm>
            <a:off x="0" y="0"/>
            <a:ext cx="5802284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F8AFE4-9B9D-6946-8A8B-332A60BDCD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73998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4800" y="1219201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28285-F5AC-8A3D-6643-900F66675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5E28AC-C348-EE03-938F-68D9895D527D}"/>
              </a:ext>
            </a:extLst>
          </p:cNvPr>
          <p:cNvSpPr txBox="1"/>
          <p:nvPr userDrawn="1"/>
        </p:nvSpPr>
        <p:spPr>
          <a:xfrm>
            <a:off x="815009" y="657970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89984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Sustainability">
    <p:bg>
      <p:bgPr>
        <a:solidFill>
          <a:srgbClr val="0F44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5D91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Gilroy Medium" panose="00000600000000000000" pitchFamily="50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4DFCD31-76F7-5A4A-C08E-4435C05FD665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02" r="42975" b="9499"/>
          <a:stretch/>
        </p:blipFill>
        <p:spPr>
          <a:xfrm>
            <a:off x="0" y="-710334"/>
            <a:ext cx="7505700" cy="7568334"/>
          </a:xfrm>
          <a:custGeom>
            <a:avLst/>
            <a:gdLst>
              <a:gd name="connsiteX0" fmla="*/ 0 w 7505700"/>
              <a:gd name="connsiteY0" fmla="*/ 0 h 7568334"/>
              <a:gd name="connsiteX1" fmla="*/ 7505700 w 7505700"/>
              <a:gd name="connsiteY1" fmla="*/ 0 h 7568334"/>
              <a:gd name="connsiteX2" fmla="*/ 7505700 w 7505700"/>
              <a:gd name="connsiteY2" fmla="*/ 7568334 h 7568334"/>
              <a:gd name="connsiteX3" fmla="*/ 0 w 7505700"/>
              <a:gd name="connsiteY3" fmla="*/ 7568334 h 7568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05700" h="7568334">
                <a:moveTo>
                  <a:pt x="0" y="0"/>
                </a:moveTo>
                <a:lnTo>
                  <a:pt x="7505700" y="0"/>
                </a:lnTo>
                <a:lnTo>
                  <a:pt x="7505700" y="7568334"/>
                </a:lnTo>
                <a:lnTo>
                  <a:pt x="0" y="7568334"/>
                </a:lnTo>
                <a:close/>
              </a:path>
            </a:pathLst>
          </a:cu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EC3E1F1-2E92-1648-74E7-AA42DA16A5B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197344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170853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1307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Gilroy Medium" panose="00000600000000000000" pitchFamily="5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93D9CF-6623-33FA-BCDE-3790E5BC74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11274" y="2824138"/>
            <a:ext cx="4369451" cy="1209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3528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4" name="Picture 23" descr="A logo with white text and colorful leaves&#10;&#10;AI-generated content may be incorrect.">
            <a:extLst>
              <a:ext uri="{FF2B5EF4-FFF2-40B4-BE49-F238E27FC236}">
                <a16:creationId xmlns:a16="http://schemas.microsoft.com/office/drawing/2014/main" id="{D5CC85D4-ADB6-A385-EEFA-BCC1AE373A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50" y="5861431"/>
            <a:ext cx="1511354" cy="85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375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v2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3217480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_Blank-Blue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B79BFA2-9768-37EC-5656-D5310FB67B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228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-DarkBlue">
    <p:bg>
      <p:bgPr>
        <a:solidFill>
          <a:srgbClr val="1356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A4C8EB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A4C8EB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A4C8EB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AE10007-65EE-3DC5-D278-0C9D7E3A3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5596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BFDE7E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7DBEDD-48E1-F0BC-E1F5-56C1CFDC6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7633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A04216-DDEC-72B9-9E60-E714B7EF465A}"/>
              </a:ext>
            </a:extLst>
          </p:cNvPr>
          <p:cNvSpPr txBox="1"/>
          <p:nvPr userDrawn="1"/>
        </p:nvSpPr>
        <p:spPr>
          <a:xfrm>
            <a:off x="815546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D7BABE-A72A-AC8E-3D81-85920E16ACD6}"/>
              </a:ext>
            </a:extLst>
          </p:cNvPr>
          <p:cNvSpPr txBox="1"/>
          <p:nvPr userDrawn="1"/>
        </p:nvSpPr>
        <p:spPr>
          <a:xfrm>
            <a:off x="1099751" y="65120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EF3051-143D-99BA-E445-C800F2389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35B6BC-B286-4CDC-591D-D4401E79134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9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2E7F8E-04D4-A56A-1BCE-393E662B38E0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338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31125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E9C008-B438-8A37-A449-C266396B3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43F584-DFE9-52B6-FCD7-BAD0737D45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672524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B4A85-6C17-6FD1-87B6-ADE96538063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2CD9F6-CDC3-72E7-E238-D8C4FE2D9181}"/>
              </a:ext>
            </a:extLst>
          </p:cNvPr>
          <p:cNvSpPr txBox="1"/>
          <p:nvPr userDrawn="1"/>
        </p:nvSpPr>
        <p:spPr>
          <a:xfrm>
            <a:off x="11446884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E077E3-40E7-E1C6-9556-60CBF8A93C79}"/>
              </a:ext>
            </a:extLst>
          </p:cNvPr>
          <p:cNvSpPr txBox="1"/>
          <p:nvPr userDrawn="1"/>
        </p:nvSpPr>
        <p:spPr>
          <a:xfrm>
            <a:off x="806116" y="65572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277C6F-2854-1D7B-4CB4-78D6270A6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0D9A1E6-E1AA-7EC1-8287-49071D7C3BF9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2064642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DD46315-B0B3-1EC1-FDC0-6BDAD184C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CAC1FA-5FEE-2B48-80F3-D73F1BCE406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0399652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1821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3A13F1-F363-9D8B-763B-FF6DB80614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E22E13-77AC-E425-8E7B-59FA7E5166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8620078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67EB93E-9E09-2CDA-076E-EDCAD081B3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735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AD2125-5374-13E1-F795-AC82A9236A1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541036-711C-D15D-D98A-A3898870B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8915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3B0304-F7B9-A020-6563-16CB86C1EF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9577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FFD073-596B-C966-AD2B-94EB41D06CE4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C8BD11-B504-A733-1D48-48A168A10C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3132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CDFB88-1BF6-658B-090A-FA594F13B6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510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4800" y="3888828"/>
            <a:ext cx="3657600" cy="174521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794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FCA3879-DB25-6606-BE61-7468DA06E2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E6C5A6-EDAC-314F-5AE5-956433135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FB600BF-AFD2-4AD7-7C7D-AB04EDAF7D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C60848-68E6-C17F-C22D-EA1FF5F4B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50">
            <a:extLst>
              <a:ext uri="{FF2B5EF4-FFF2-40B4-BE49-F238E27FC236}">
                <a16:creationId xmlns:a16="http://schemas.microsoft.com/office/drawing/2014/main" id="{A479D373-550A-277C-9E29-4763D6EF3203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4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50">
            <a:extLst>
              <a:ext uri="{FF2B5EF4-FFF2-40B4-BE49-F238E27FC236}">
                <a16:creationId xmlns:a16="http://schemas.microsoft.com/office/drawing/2014/main" id="{E3D0CA9A-9DCA-285D-5947-D27336FE76BA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 flipH="1">
            <a:off x="42672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50">
            <a:extLst>
              <a:ext uri="{FF2B5EF4-FFF2-40B4-BE49-F238E27FC236}">
                <a16:creationId xmlns:a16="http://schemas.microsoft.com/office/drawing/2014/main" id="{E04B5877-BF81-42FF-F396-FA19ECC3ECD6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 flipH="1">
            <a:off x="82296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574799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FDD9CA-9F0B-B737-A35D-05711DB598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5" y="362758"/>
            <a:ext cx="896203" cy="8962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D42475-506B-7A75-E736-9BDE0E6C02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071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3AF5BC-3159-7D8C-75AA-14C890BE4B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6" y="362758"/>
            <a:ext cx="896203" cy="8962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67B7BF6-CD50-1B4E-0BFC-3EF954589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1740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-Food">
    <p:bg>
      <p:bgPr>
        <a:solidFill>
          <a:srgbClr val="EE6D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922F11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922F1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5DDFA-4EA6-8118-09EA-894AD22101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32" y="362758"/>
            <a:ext cx="1612900" cy="13712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0717875-20D0-C6F7-D1D7-E08E085476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9053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FE4383-3308-AECA-BC92-908820AE4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3256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B49EEA-D01D-3940-FE7A-2DCFA1445B13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793773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</a:t>
            </a:r>
          </a:p>
        </p:txBody>
      </p:sp>
      <p:pic>
        <p:nvPicPr>
          <p:cNvPr id="21" name="Picture 20" descr="A logo with white text and colorful shapes&#10;&#10;AI-generated content may be incorrect.">
            <a:extLst>
              <a:ext uri="{FF2B5EF4-FFF2-40B4-BE49-F238E27FC236}">
                <a16:creationId xmlns:a16="http://schemas.microsoft.com/office/drawing/2014/main" id="{C1847977-4355-AB64-3E0F-E3B6189E29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11850" y="5861431"/>
            <a:ext cx="1511354" cy="85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1933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chemeClr val="accent5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4A42F8D-FD45-1020-AE77-8199A0C7654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719D273-2584-873C-0535-6C85EA591315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577CC8-E137-F371-4009-884CF36161C4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4CAC497-AF23-588E-91F9-154DE741A891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BEA982-B3FB-D392-3292-2CA950BD90F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6EBD14B-3DDF-E332-200E-E7308C2C1AE0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0B773D-90CF-5739-25AD-7F426773B3F3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ED92367-2C65-6CBC-746B-98FEA4E55E5A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90E16E-CE31-49A7-461B-D7A0B24E83A2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1C10AC1-0A43-8631-16CD-7764F1C7857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43EA04E-7926-0CA3-309A-E149CA3360E5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0F44EE-08C7-80E6-562B-899667C69CFD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A233AD-D8F8-1A88-D470-F569F2A1D8FC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70B00F3-F0B6-5650-606A-C84EE3FFD33A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DE820D6-2006-4CDA-7018-0C4035E266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17D2BBE-9F1F-FCFD-9C6A-89EDE2831FFD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22121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4B9A5-FB58-9A71-6414-BEBF4B1F0F2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95ECE8-5DA8-F866-3420-5F3CE342DE8A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069D75-D039-B5DD-8AD3-576FE5416A95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B98D7F-52AD-8D84-3521-2E7F8620335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7BD8B7-0EA8-211E-0FA4-389B9680477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00246A-25E4-0F73-A740-AEC49B4E3DA6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17F129-3242-92C8-6057-D90FE763DCA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5BE8FC-4451-27D0-D345-3D31B4565E8F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8A8E7A-F1F4-E928-A267-92C93713E35D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A9BE32-7A76-0026-F37A-EAA381109217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28412D1-5B92-3139-AE86-D49C38CEAD86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A038C-A6AC-33E5-7729-8CDB678B8FB2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DFCD51-E558-F7F4-2E02-88E9E9FD9BF1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992AE7-9A4C-8593-75B9-D2606DF865E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E9C2836-EE8B-CF72-4233-9EC9DDED8D5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A64C47-A537-F05D-E667-A1CF358340B8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BFDE7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158364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or Divider - Sustainability">
    <p:bg>
      <p:bgPr>
        <a:solidFill>
          <a:srgbClr val="8DBE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4B9A5-FB58-9A71-6414-BEBF4B1F0F2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95ECE8-5DA8-F866-3420-5F3CE342DE8A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069D75-D039-B5DD-8AD3-576FE5416A95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B98D7F-52AD-8D84-3521-2E7F8620335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7BD8B7-0EA8-211E-0FA4-389B9680477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00246A-25E4-0F73-A740-AEC49B4E3DA6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17F129-3242-92C8-6057-D90FE763DCA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5BE8FC-4451-27D0-D345-3D31B4565E8F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8A8E7A-F1F4-E928-A267-92C93713E35D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A9BE32-7A76-0026-F37A-EAA381109217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28412D1-5B92-3139-AE86-D49C38CEAD86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A038C-A6AC-33E5-7729-8CDB678B8FB2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DFCD51-E558-F7F4-2E02-88E9E9FD9BF1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992AE7-9A4C-8593-75B9-D2606DF865E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E9C2836-EE8B-CF72-4233-9EC9DDED8D5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A64C47-A537-F05D-E667-A1CF358340B8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811096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4800" y="1219201"/>
            <a:ext cx="11582400" cy="4419600"/>
          </a:xfrm>
        </p:spPr>
        <p:txBody>
          <a:bodyPr/>
          <a:lstStyle>
            <a:lvl1pPr>
              <a:defRPr>
                <a:solidFill>
                  <a:srgbClr val="2B660F"/>
                </a:solidFill>
                <a:latin typeface="+mn-lt"/>
              </a:defRPr>
            </a:lvl1pPr>
            <a:lvl2pPr>
              <a:defRPr>
                <a:solidFill>
                  <a:srgbClr val="2B660F"/>
                </a:solidFill>
                <a:latin typeface="+mn-lt"/>
              </a:defRPr>
            </a:lvl2pPr>
            <a:lvl3pPr>
              <a:defRPr sz="1400">
                <a:solidFill>
                  <a:srgbClr val="2B660F"/>
                </a:solidFill>
                <a:latin typeface="+mn-lt"/>
              </a:defRPr>
            </a:lvl3pPr>
            <a:lvl4pPr>
              <a:defRPr sz="1400">
                <a:solidFill>
                  <a:srgbClr val="2B660F"/>
                </a:solidFill>
                <a:latin typeface="+mn-lt"/>
              </a:defRPr>
            </a:lvl4pPr>
            <a:lvl5pPr>
              <a:defRPr sz="1400">
                <a:solidFill>
                  <a:srgbClr val="2B660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28285-F5AC-8A3D-6643-900F66675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D910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5E28AC-C348-EE03-938F-68D9895D527D}"/>
              </a:ext>
            </a:extLst>
          </p:cNvPr>
          <p:cNvSpPr txBox="1"/>
          <p:nvPr userDrawn="1"/>
        </p:nvSpPr>
        <p:spPr>
          <a:xfrm>
            <a:off x="815009" y="657970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0E1989-DA1C-8B6E-AF70-60EC5F03F119}"/>
              </a:ext>
            </a:extLst>
          </p:cNvPr>
          <p:cNvSpPr txBox="1"/>
          <p:nvPr userDrawn="1"/>
        </p:nvSpPr>
        <p:spPr>
          <a:xfrm>
            <a:off x="1013254" y="65737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636BFF-E815-D157-BC2F-F84CD7E08D02}"/>
              </a:ext>
            </a:extLst>
          </p:cNvPr>
          <p:cNvSpPr txBox="1"/>
          <p:nvPr userDrawn="1"/>
        </p:nvSpPr>
        <p:spPr>
          <a:xfrm>
            <a:off x="630195" y="653672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538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23.emf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slideLayout" Target="../slideLayouts/slideLayout120.xml"/><Relationship Id="rId39" Type="http://schemas.openxmlformats.org/officeDocument/2006/relationships/slideLayout" Target="../slideLayouts/slideLayout133.xml"/><Relationship Id="rId21" Type="http://schemas.openxmlformats.org/officeDocument/2006/relationships/slideLayout" Target="../slideLayouts/slideLayout115.xml"/><Relationship Id="rId34" Type="http://schemas.openxmlformats.org/officeDocument/2006/relationships/slideLayout" Target="../slideLayouts/slideLayout128.xml"/><Relationship Id="rId42" Type="http://schemas.openxmlformats.org/officeDocument/2006/relationships/slideLayout" Target="../slideLayouts/slideLayout136.xml"/><Relationship Id="rId47" Type="http://schemas.openxmlformats.org/officeDocument/2006/relationships/slideLayout" Target="../slideLayouts/slideLayout141.xml"/><Relationship Id="rId50" Type="http://schemas.openxmlformats.org/officeDocument/2006/relationships/slideLayout" Target="../slideLayouts/slideLayout144.xml"/><Relationship Id="rId55" Type="http://schemas.openxmlformats.org/officeDocument/2006/relationships/slideLayout" Target="../slideLayouts/slideLayout149.xml"/><Relationship Id="rId63" Type="http://schemas.openxmlformats.org/officeDocument/2006/relationships/slideLayout" Target="../slideLayouts/slideLayout157.xml"/><Relationship Id="rId68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32" Type="http://schemas.openxmlformats.org/officeDocument/2006/relationships/slideLayout" Target="../slideLayouts/slideLayout126.xml"/><Relationship Id="rId37" Type="http://schemas.openxmlformats.org/officeDocument/2006/relationships/slideLayout" Target="../slideLayouts/slideLayout131.xml"/><Relationship Id="rId40" Type="http://schemas.openxmlformats.org/officeDocument/2006/relationships/slideLayout" Target="../slideLayouts/slideLayout134.xml"/><Relationship Id="rId45" Type="http://schemas.openxmlformats.org/officeDocument/2006/relationships/slideLayout" Target="../slideLayouts/slideLayout139.xml"/><Relationship Id="rId53" Type="http://schemas.openxmlformats.org/officeDocument/2006/relationships/slideLayout" Target="../slideLayouts/slideLayout147.xml"/><Relationship Id="rId58" Type="http://schemas.openxmlformats.org/officeDocument/2006/relationships/slideLayout" Target="../slideLayouts/slideLayout152.xml"/><Relationship Id="rId66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slideLayout" Target="../slideLayouts/slideLayout122.xml"/><Relationship Id="rId36" Type="http://schemas.openxmlformats.org/officeDocument/2006/relationships/slideLayout" Target="../slideLayouts/slideLayout130.xml"/><Relationship Id="rId49" Type="http://schemas.openxmlformats.org/officeDocument/2006/relationships/slideLayout" Target="../slideLayouts/slideLayout143.xml"/><Relationship Id="rId57" Type="http://schemas.openxmlformats.org/officeDocument/2006/relationships/slideLayout" Target="../slideLayouts/slideLayout151.xml"/><Relationship Id="rId61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31" Type="http://schemas.openxmlformats.org/officeDocument/2006/relationships/slideLayout" Target="../slideLayouts/slideLayout125.xml"/><Relationship Id="rId44" Type="http://schemas.openxmlformats.org/officeDocument/2006/relationships/slideLayout" Target="../slideLayouts/slideLayout138.xml"/><Relationship Id="rId52" Type="http://schemas.openxmlformats.org/officeDocument/2006/relationships/slideLayout" Target="../slideLayouts/slideLayout146.xml"/><Relationship Id="rId60" Type="http://schemas.openxmlformats.org/officeDocument/2006/relationships/slideLayout" Target="../slideLayouts/slideLayout154.xml"/><Relationship Id="rId65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slideLayout" Target="../slideLayouts/slideLayout121.xml"/><Relationship Id="rId30" Type="http://schemas.openxmlformats.org/officeDocument/2006/relationships/slideLayout" Target="../slideLayouts/slideLayout124.xml"/><Relationship Id="rId35" Type="http://schemas.openxmlformats.org/officeDocument/2006/relationships/slideLayout" Target="../slideLayouts/slideLayout129.xml"/><Relationship Id="rId43" Type="http://schemas.openxmlformats.org/officeDocument/2006/relationships/slideLayout" Target="../slideLayouts/slideLayout137.xml"/><Relationship Id="rId48" Type="http://schemas.openxmlformats.org/officeDocument/2006/relationships/slideLayout" Target="../slideLayouts/slideLayout142.xml"/><Relationship Id="rId56" Type="http://schemas.openxmlformats.org/officeDocument/2006/relationships/slideLayout" Target="../slideLayouts/slideLayout150.xml"/><Relationship Id="rId64" Type="http://schemas.openxmlformats.org/officeDocument/2006/relationships/slideLayout" Target="../slideLayouts/slideLayout158.xml"/><Relationship Id="rId69" Type="http://schemas.openxmlformats.org/officeDocument/2006/relationships/theme" Target="../theme/theme3.xml"/><Relationship Id="rId8" Type="http://schemas.openxmlformats.org/officeDocument/2006/relationships/slideLayout" Target="../slideLayouts/slideLayout102.xml"/><Relationship Id="rId51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19.xml"/><Relationship Id="rId33" Type="http://schemas.openxmlformats.org/officeDocument/2006/relationships/slideLayout" Target="../slideLayouts/slideLayout127.xml"/><Relationship Id="rId38" Type="http://schemas.openxmlformats.org/officeDocument/2006/relationships/slideLayout" Target="../slideLayouts/slideLayout132.xml"/><Relationship Id="rId46" Type="http://schemas.openxmlformats.org/officeDocument/2006/relationships/slideLayout" Target="../slideLayouts/slideLayout140.xml"/><Relationship Id="rId59" Type="http://schemas.openxmlformats.org/officeDocument/2006/relationships/slideLayout" Target="../slideLayouts/slideLayout153.xml"/><Relationship Id="rId67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14.xml"/><Relationship Id="rId41" Type="http://schemas.openxmlformats.org/officeDocument/2006/relationships/slideLayout" Target="../slideLayouts/slideLayout135.xml"/><Relationship Id="rId54" Type="http://schemas.openxmlformats.org/officeDocument/2006/relationships/slideLayout" Target="../slideLayouts/slideLayout148.xml"/><Relationship Id="rId62" Type="http://schemas.openxmlformats.org/officeDocument/2006/relationships/slideLayout" Target="../slideLayouts/slideLayout1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A73341-108A-4DC8-92A2-2CA590BB402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47FD04F-64FC-CE14-7E6C-AC14EBA406E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3BED3BD-7FCF-DDCD-7ABE-D40D23D188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A59D2D-963F-FC5F-76F8-2685A84DE18E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E42FEF-4DE3-0DBB-DA93-5532D44E467D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513F617-5F5B-ACD6-9D53-086EA767038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425CA8-7AB3-EA99-FD7E-62D4B1311CFB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B9C748B-6306-7E6F-B15A-87C022F79C3B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5ACB2F7-8C1F-6661-CECE-A51272A62D67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832C14-1818-744E-59F5-7E196A22A1E4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7986FF-9B19-6DB4-4EFF-7DE6E971E1F0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2DE6B9-5479-9F85-19C4-80BEEF56256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AF9160E-19C5-F0F9-C653-3E1B8C79F1B8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18EDCB-350A-2B73-D4BF-0A47360A524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16AC3D-AE68-5D97-B0D7-72F51120ECB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0989396-46DC-4E35-49EE-CF1F6C7A7E09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F93C799-4C4D-A437-E150-353C52FA92FE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692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29" r:id="rId2"/>
    <p:sldLayoutId id="2147483824" r:id="rId3"/>
    <p:sldLayoutId id="2147483910" r:id="rId4"/>
    <p:sldLayoutId id="2147483856" r:id="rId5"/>
    <p:sldLayoutId id="2147483865" r:id="rId6"/>
    <p:sldLayoutId id="2147483825" r:id="rId7"/>
    <p:sldLayoutId id="2147483831" r:id="rId8"/>
    <p:sldLayoutId id="2147483845" r:id="rId9"/>
    <p:sldLayoutId id="2147483848" r:id="rId10"/>
    <p:sldLayoutId id="2147483857" r:id="rId11"/>
    <p:sldLayoutId id="2147483866" r:id="rId12"/>
    <p:sldLayoutId id="2147483828" r:id="rId13"/>
    <p:sldLayoutId id="2147483923" r:id="rId14"/>
    <p:sldLayoutId id="2147483922" r:id="rId15"/>
    <p:sldLayoutId id="2147483921" r:id="rId16"/>
    <p:sldLayoutId id="2147483919" r:id="rId17"/>
    <p:sldLayoutId id="2147483920" r:id="rId18"/>
    <p:sldLayoutId id="2147483918" r:id="rId19"/>
    <p:sldLayoutId id="2147483915" r:id="rId20"/>
    <p:sldLayoutId id="2147483916" r:id="rId21"/>
    <p:sldLayoutId id="2147483917" r:id="rId22"/>
    <p:sldLayoutId id="2147483913" r:id="rId23"/>
    <p:sldLayoutId id="2147483855" r:id="rId24"/>
    <p:sldLayoutId id="2147483852" r:id="rId25"/>
    <p:sldLayoutId id="2147483864" r:id="rId26"/>
    <p:sldLayoutId id="2147483875" r:id="rId27"/>
    <p:sldLayoutId id="2147483853" r:id="rId28"/>
    <p:sldLayoutId id="2147483876" r:id="rId29"/>
    <p:sldLayoutId id="2147483863" r:id="rId30"/>
    <p:sldLayoutId id="2147483874" r:id="rId31"/>
    <p:sldLayoutId id="2147483851" r:id="rId32"/>
    <p:sldLayoutId id="2147483885" r:id="rId33"/>
    <p:sldLayoutId id="2147483903" r:id="rId34"/>
    <p:sldLayoutId id="2147483847" r:id="rId35"/>
    <p:sldLayoutId id="2147483861" r:id="rId36"/>
    <p:sldLayoutId id="2147483870" r:id="rId37"/>
    <p:sldLayoutId id="2147483854" r:id="rId38"/>
    <p:sldLayoutId id="2147483826" r:id="rId39"/>
    <p:sldLayoutId id="2147483836" r:id="rId40"/>
    <p:sldLayoutId id="2147483837" r:id="rId41"/>
    <p:sldLayoutId id="2147483835" r:id="rId42"/>
    <p:sldLayoutId id="2147483842" r:id="rId43"/>
    <p:sldLayoutId id="2147483849" r:id="rId44"/>
    <p:sldLayoutId id="2147483888" r:id="rId45"/>
    <p:sldLayoutId id="2147483843" r:id="rId46"/>
    <p:sldLayoutId id="2147483905" r:id="rId47"/>
    <p:sldLayoutId id="2147483887" r:id="rId48"/>
    <p:sldLayoutId id="2147483904" r:id="rId49"/>
    <p:sldLayoutId id="2147483889" r:id="rId50"/>
    <p:sldLayoutId id="2147483890" r:id="rId51"/>
    <p:sldLayoutId id="2147483868" r:id="rId52"/>
    <p:sldLayoutId id="2147483886" r:id="rId53"/>
    <p:sldLayoutId id="2147483892" r:id="rId54"/>
    <p:sldLayoutId id="2147483893" r:id="rId55"/>
    <p:sldLayoutId id="2147483894" r:id="rId56"/>
    <p:sldLayoutId id="2147483846" r:id="rId57"/>
    <p:sldLayoutId id="2147483895" r:id="rId58"/>
    <p:sldLayoutId id="2147483896" r:id="rId59"/>
    <p:sldLayoutId id="2147483900" r:id="rId60"/>
    <p:sldLayoutId id="2147483838" r:id="rId61"/>
    <p:sldLayoutId id="2147483840" r:id="rId62"/>
    <p:sldLayoutId id="2147483872" r:id="rId63"/>
    <p:sldLayoutId id="2147483873" r:id="rId64"/>
    <p:sldLayoutId id="2147483906" r:id="rId65"/>
    <p:sldLayoutId id="2147483907" r:id="rId66"/>
    <p:sldLayoutId id="2147483908" r:id="rId67"/>
    <p:sldLayoutId id="2147483841" r:id="rId68"/>
    <p:sldLayoutId id="2147483858" r:id="rId69"/>
    <p:sldLayoutId id="2147483867" r:id="rId70"/>
    <p:sldLayoutId id="2147483834" r:id="rId71"/>
    <p:sldLayoutId id="2147483833" r:id="rId72"/>
    <p:sldLayoutId id="2147483924" r:id="rId7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 userDrawn="1">
          <p15:clr>
            <a:srgbClr val="F26B43"/>
          </p15:clr>
        </p15:guide>
        <p15:guide id="4" pos="7488" userDrawn="1">
          <p15:clr>
            <a:srgbClr val="F26B43"/>
          </p15:clr>
        </p15:guide>
        <p15:guide id="5" orient="horz" pos="76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3C6CA2EA-CEAF-84F7-5EDC-790C0A0431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24044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1" imgH="381" progId="TCLayout.ActiveDocument.1">
                  <p:embed/>
                </p:oleObj>
              </mc:Choice>
              <mc:Fallback>
                <p:oleObj name="think-cell Slide" r:id="rId24" imgW="381" imgH="38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6CA2EA-CEAF-84F7-5EDC-790C0A0431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30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45" r:id="rId20"/>
    <p:sldLayoutId id="2147483946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A73341-108A-4DC8-92A2-2CA590BB402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47FD04F-64FC-CE14-7E6C-AC14EBA406E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3BED3BD-7FCF-DDCD-7ABE-D40D23D188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A59D2D-963F-FC5F-76F8-2685A84DE18E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E42FEF-4DE3-0DBB-DA93-5532D44E467D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513F617-5F5B-ACD6-9D53-086EA767038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425CA8-7AB3-EA99-FD7E-62D4B1311CFB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B9C748B-6306-7E6F-B15A-87C022F79C3B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5ACB2F7-8C1F-6661-CECE-A51272A62D67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832C14-1818-744E-59F5-7E196A22A1E4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7986FF-9B19-6DB4-4EFF-7DE6E971E1F0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2DE6B9-5479-9F85-19C4-80BEEF56256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AF9160E-19C5-F0F9-C653-3E1B8C79F1B8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18EDCB-350A-2B73-D4BF-0A47360A524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16AC3D-AE68-5D97-B0D7-72F51120ECB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0989396-46DC-4E35-49EE-CF1F6C7A7E09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F93C799-4C4D-A437-E150-353C52FA92FE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242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  <p:sldLayoutId id="2147483960" r:id="rId13"/>
    <p:sldLayoutId id="2147483961" r:id="rId14"/>
    <p:sldLayoutId id="2147483962" r:id="rId15"/>
    <p:sldLayoutId id="2147483963" r:id="rId16"/>
    <p:sldLayoutId id="2147483964" r:id="rId17"/>
    <p:sldLayoutId id="2147483965" r:id="rId18"/>
    <p:sldLayoutId id="2147483966" r:id="rId19"/>
    <p:sldLayoutId id="2147483967" r:id="rId20"/>
    <p:sldLayoutId id="2147483968" r:id="rId21"/>
    <p:sldLayoutId id="2147483969" r:id="rId22"/>
    <p:sldLayoutId id="2147483970" r:id="rId23"/>
    <p:sldLayoutId id="2147483971" r:id="rId24"/>
    <p:sldLayoutId id="2147483972" r:id="rId25"/>
    <p:sldLayoutId id="2147483973" r:id="rId26"/>
    <p:sldLayoutId id="2147483974" r:id="rId27"/>
    <p:sldLayoutId id="2147483975" r:id="rId28"/>
    <p:sldLayoutId id="2147483976" r:id="rId29"/>
    <p:sldLayoutId id="2147483977" r:id="rId30"/>
    <p:sldLayoutId id="2147483978" r:id="rId31"/>
    <p:sldLayoutId id="2147483979" r:id="rId32"/>
    <p:sldLayoutId id="2147483980" r:id="rId33"/>
    <p:sldLayoutId id="2147483981" r:id="rId34"/>
    <p:sldLayoutId id="2147483982" r:id="rId35"/>
    <p:sldLayoutId id="2147483983" r:id="rId36"/>
    <p:sldLayoutId id="2147483984" r:id="rId37"/>
    <p:sldLayoutId id="2147483985" r:id="rId38"/>
    <p:sldLayoutId id="2147483986" r:id="rId39"/>
    <p:sldLayoutId id="2147483987" r:id="rId40"/>
    <p:sldLayoutId id="2147483988" r:id="rId41"/>
    <p:sldLayoutId id="2147483989" r:id="rId42"/>
    <p:sldLayoutId id="2147483990" r:id="rId43"/>
    <p:sldLayoutId id="2147483991" r:id="rId44"/>
    <p:sldLayoutId id="2147483992" r:id="rId45"/>
    <p:sldLayoutId id="2147483993" r:id="rId46"/>
    <p:sldLayoutId id="2147483994" r:id="rId47"/>
    <p:sldLayoutId id="2147483995" r:id="rId48"/>
    <p:sldLayoutId id="2147483996" r:id="rId49"/>
    <p:sldLayoutId id="2147483997" r:id="rId50"/>
    <p:sldLayoutId id="2147483998" r:id="rId51"/>
    <p:sldLayoutId id="2147483999" r:id="rId52"/>
    <p:sldLayoutId id="2147484000" r:id="rId53"/>
    <p:sldLayoutId id="2147484001" r:id="rId54"/>
    <p:sldLayoutId id="2147484002" r:id="rId55"/>
    <p:sldLayoutId id="2147484003" r:id="rId56"/>
    <p:sldLayoutId id="2147484004" r:id="rId57"/>
    <p:sldLayoutId id="2147484005" r:id="rId58"/>
    <p:sldLayoutId id="2147484006" r:id="rId59"/>
    <p:sldLayoutId id="2147484007" r:id="rId60"/>
    <p:sldLayoutId id="2147484008" r:id="rId61"/>
    <p:sldLayoutId id="2147484009" r:id="rId62"/>
    <p:sldLayoutId id="2147484010" r:id="rId63"/>
    <p:sldLayoutId id="2147484011" r:id="rId64"/>
    <p:sldLayoutId id="2147484012" r:id="rId65"/>
    <p:sldLayoutId id="2147484013" r:id="rId66"/>
    <p:sldLayoutId id="2147484014" r:id="rId67"/>
    <p:sldLayoutId id="2147484015" r:id="rId6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rgbClr val="5D910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rgbClr val="2B660F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rgbClr val="2B660F"/>
        </a:buClr>
        <a:buFont typeface="Arial" panose="020B0604020202020204" pitchFamily="34" charset="0"/>
        <a:buChar char="•"/>
        <a:defRPr sz="1400" kern="1200">
          <a:solidFill>
            <a:srgbClr val="2B660F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Clr>
          <a:srgbClr val="2B660F"/>
        </a:buClr>
        <a:buFont typeface="Arial" panose="020B0604020202020204" pitchFamily="34" charset="0"/>
        <a:buChar char="–"/>
        <a:defRPr sz="1200" kern="1200">
          <a:solidFill>
            <a:srgbClr val="2B660F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Clr>
          <a:srgbClr val="2B660F"/>
        </a:buClr>
        <a:buFont typeface="Arial" panose="020B0604020202020204" pitchFamily="34" charset="0"/>
        <a:buChar char="•"/>
        <a:defRPr sz="1100" kern="1200">
          <a:solidFill>
            <a:srgbClr val="2B660F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rgbClr val="2B660F"/>
        </a:buClr>
        <a:buFont typeface="Arial" panose="020B0604020202020204" pitchFamily="34" charset="0"/>
        <a:buChar char="–"/>
        <a:defRPr sz="1050" kern="1200">
          <a:solidFill>
            <a:srgbClr val="2B660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40.png"/><Relationship Id="rId18" Type="http://schemas.openxmlformats.org/officeDocument/2006/relationships/hyperlink" Target="mailto:Nicole.popowski@pepsico.com" TargetMode="External"/><Relationship Id="rId3" Type="http://schemas.openxmlformats.org/officeDocument/2006/relationships/image" Target="../media/image32.jpeg"/><Relationship Id="rId21" Type="http://schemas.openxmlformats.org/officeDocument/2006/relationships/hyperlink" Target="https://www.pepsico.com/sustainability/report-downloads" TargetMode="External"/><Relationship Id="rId7" Type="http://schemas.openxmlformats.org/officeDocument/2006/relationships/image" Target="../media/image35.png"/><Relationship Id="rId12" Type="http://schemas.openxmlformats.org/officeDocument/2006/relationships/image" Target="../media/image39.svg"/><Relationship Id="rId17" Type="http://schemas.openxmlformats.org/officeDocument/2006/relationships/hyperlink" Target="mailto:catherine.walton@pepsico.com" TargetMode="External"/><Relationship Id="rId2" Type="http://schemas.openxmlformats.org/officeDocument/2006/relationships/notesSlide" Target="../notesSlides/notesSlide1.xml"/><Relationship Id="rId16" Type="http://schemas.openxmlformats.org/officeDocument/2006/relationships/hyperlink" Target="mailto:shanna.parra@pepsico.com" TargetMode="External"/><Relationship Id="rId20" Type="http://schemas.openxmlformats.org/officeDocument/2006/relationships/hyperlink" Target="https://www.pepsico.com/sustainability" TargetMode="External"/><Relationship Id="rId1" Type="http://schemas.openxmlformats.org/officeDocument/2006/relationships/slideLayout" Target="../slideLayouts/slideLayout87.xml"/><Relationship Id="rId6" Type="http://schemas.microsoft.com/office/2007/relationships/hdphoto" Target="../media/hdphoto1.wdp"/><Relationship Id="rId11" Type="http://schemas.openxmlformats.org/officeDocument/2006/relationships/image" Target="../media/image38.png"/><Relationship Id="rId5" Type="http://schemas.openxmlformats.org/officeDocument/2006/relationships/image" Target="../media/image34.png"/><Relationship Id="rId15" Type="http://schemas.openxmlformats.org/officeDocument/2006/relationships/image" Target="../media/image42.png"/><Relationship Id="rId10" Type="http://schemas.openxmlformats.org/officeDocument/2006/relationships/image" Target="../media/image37.svg"/><Relationship Id="rId19" Type="http://schemas.openxmlformats.org/officeDocument/2006/relationships/hyperlink" Target="https://www.pepsico.com/our-impact/esg-topics-a-z" TargetMode="External"/><Relationship Id="rId4" Type="http://schemas.openxmlformats.org/officeDocument/2006/relationships/image" Target="../media/image33.png"/><Relationship Id="rId9" Type="http://schemas.openxmlformats.org/officeDocument/2006/relationships/image" Target="../media/image36.png"/><Relationship Id="rId14" Type="http://schemas.openxmlformats.org/officeDocument/2006/relationships/image" Target="../media/image41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4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4.jpeg"/><Relationship Id="rId12" Type="http://schemas.openxmlformats.org/officeDocument/2006/relationships/hyperlink" Target="mailto:catherine.walton@pepsico.com" TargetMode="External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3.xml"/><Relationship Id="rId6" Type="http://schemas.openxmlformats.org/officeDocument/2006/relationships/image" Target="../media/image31.emf"/><Relationship Id="rId11" Type="http://schemas.openxmlformats.org/officeDocument/2006/relationships/hyperlink" Target="mailto:shanna.parra@pepsico.com" TargetMode="External"/><Relationship Id="rId5" Type="http://schemas.openxmlformats.org/officeDocument/2006/relationships/oleObject" Target="../embeddings/oleObject3.bin"/><Relationship Id="rId10" Type="http://schemas.openxmlformats.org/officeDocument/2006/relationships/image" Target="../media/image47.png"/><Relationship Id="rId4" Type="http://schemas.openxmlformats.org/officeDocument/2006/relationships/image" Target="../media/image43.png"/><Relationship Id="rId9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1.emf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0.jpeg"/><Relationship Id="rId10" Type="http://schemas.openxmlformats.org/officeDocument/2006/relationships/image" Target="../media/image53.png"/><Relationship Id="rId4" Type="http://schemas.openxmlformats.org/officeDocument/2006/relationships/image" Target="../media/image49.jpeg"/><Relationship Id="rId9" Type="http://schemas.openxmlformats.org/officeDocument/2006/relationships/image" Target="../media/image5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1.emf"/><Relationship Id="rId2" Type="http://schemas.openxmlformats.org/officeDocument/2006/relationships/slideLayout" Target="../slideLayouts/slideLayout162.xml"/><Relationship Id="rId1" Type="http://schemas.openxmlformats.org/officeDocument/2006/relationships/tags" Target="../tags/tag5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hyperlink" Target="https://greenpaperproducts.com/products/disposable-compostable-3ounce-cups-cc3/42569355952354" TargetMode="External"/><Relationship Id="rId3" Type="http://schemas.openxmlformats.org/officeDocument/2006/relationships/notesSlide" Target="../notesSlides/notesSlide5.xml"/><Relationship Id="rId7" Type="http://schemas.openxmlformats.org/officeDocument/2006/relationships/hyperlink" Target="https://www.yourbrandcafe.com/products/custom-3oz-plastic-cups/" TargetMode="External"/><Relationship Id="rId12" Type="http://schemas.openxmlformats.org/officeDocument/2006/relationships/image" Target="../media/image56.png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6.xml"/><Relationship Id="rId6" Type="http://schemas.openxmlformats.org/officeDocument/2006/relationships/hyperlink" Target="https://lollicupstore.com/products/3oz-pet-plastic-cold-cups-62mm-2-500-ct" TargetMode="External"/><Relationship Id="rId11" Type="http://schemas.openxmlformats.org/officeDocument/2006/relationships/image" Target="../media/image55.png"/><Relationship Id="rId5" Type="http://schemas.openxmlformats.org/officeDocument/2006/relationships/image" Target="../media/image31.emf"/><Relationship Id="rId15" Type="http://schemas.openxmlformats.org/officeDocument/2006/relationships/image" Target="../media/image51.png"/><Relationship Id="rId10" Type="http://schemas.openxmlformats.org/officeDocument/2006/relationships/hyperlink" Target="https://www.boldreuse.com/" TargetMode="External"/><Relationship Id="rId4" Type="http://schemas.openxmlformats.org/officeDocument/2006/relationships/oleObject" Target="../embeddings/oleObject6.bin"/><Relationship Id="rId9" Type="http://schemas.openxmlformats.org/officeDocument/2006/relationships/image" Target="../media/image46.png"/><Relationship Id="rId14" Type="http://schemas.openxmlformats.org/officeDocument/2006/relationships/hyperlink" Target="https://store.worldcentric.com/2-oz-portion-cup-clear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7.png"/><Relationship Id="rId12" Type="http://schemas.openxmlformats.org/officeDocument/2006/relationships/image" Target="../media/image62.svg"/><Relationship Id="rId2" Type="http://schemas.openxmlformats.org/officeDocument/2006/relationships/slideLayout" Target="../slideLayouts/slideLayout162.xml"/><Relationship Id="rId16" Type="http://schemas.openxmlformats.org/officeDocument/2006/relationships/image" Target="../media/image66.svg"/><Relationship Id="rId1" Type="http://schemas.openxmlformats.org/officeDocument/2006/relationships/tags" Target="../tags/tag7.xml"/><Relationship Id="rId6" Type="http://schemas.openxmlformats.org/officeDocument/2006/relationships/hyperlink" Target="https://products.bpiworld.org/" TargetMode="External"/><Relationship Id="rId11" Type="http://schemas.openxmlformats.org/officeDocument/2006/relationships/image" Target="../media/image61.png"/><Relationship Id="rId5" Type="http://schemas.openxmlformats.org/officeDocument/2006/relationships/image" Target="../media/image31.emf"/><Relationship Id="rId15" Type="http://schemas.openxmlformats.org/officeDocument/2006/relationships/image" Target="../media/image65.png"/><Relationship Id="rId10" Type="http://schemas.openxmlformats.org/officeDocument/2006/relationships/image" Target="../media/image60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59.png"/><Relationship Id="rId14" Type="http://schemas.openxmlformats.org/officeDocument/2006/relationships/image" Target="../media/image64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mailto:pamela.madigan@pepsico.com" TargetMode="External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1.emf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68.png"/><Relationship Id="rId10" Type="http://schemas.openxmlformats.org/officeDocument/2006/relationships/hyperlink" Target="https://form.jotform.com/242984467963172" TargetMode="External"/><Relationship Id="rId4" Type="http://schemas.openxmlformats.org/officeDocument/2006/relationships/image" Target="../media/image67.png"/><Relationship Id="rId9" Type="http://schemas.openxmlformats.org/officeDocument/2006/relationships/hyperlink" Target="https://form.jotform.com/242983865943171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notesSlide" Target="../notesSlides/notesSlide8.xml"/><Relationship Id="rId7" Type="http://schemas.openxmlformats.org/officeDocument/2006/relationships/hyperlink" Target="https://pepsico.sharepoint.com/:b:/t/NASustainability/IQCr95gxA9CTSqdAej27Fp1QATNg-2_4yUPrbNG4gTYMd1g?e=5VCoFa" TargetMode="External"/><Relationship Id="rId2" Type="http://schemas.openxmlformats.org/officeDocument/2006/relationships/slideLayout" Target="../slideLayouts/slideLayout162.xml"/><Relationship Id="rId1" Type="http://schemas.openxmlformats.org/officeDocument/2006/relationships/tags" Target="../tags/tag9.xml"/><Relationship Id="rId6" Type="http://schemas.openxmlformats.org/officeDocument/2006/relationships/image" Target="../media/image69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62.xml"/><Relationship Id="rId1" Type="http://schemas.openxmlformats.org/officeDocument/2006/relationships/tags" Target="../tags/tag10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8DACF12-921C-551A-7B7F-23820EF754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532660"/>
            <a:ext cx="3657595" cy="5741232"/>
          </a:xfrm>
          <a:solidFill>
            <a:srgbClr val="0F440D"/>
          </a:solidFill>
        </p:spPr>
        <p:txBody>
          <a:bodyPr tIns="274320"/>
          <a:lstStyle/>
          <a:p>
            <a:r>
              <a:rPr lang="en-US" dirty="0">
                <a:solidFill>
                  <a:srgbClr val="BFDF7D"/>
                </a:solidFill>
                <a:latin typeface="+mj-lt"/>
              </a:rPr>
              <a:t>FOR QUESTIONS OR </a:t>
            </a:r>
            <a:br>
              <a:rPr lang="en-US" dirty="0">
                <a:solidFill>
                  <a:srgbClr val="BFDF7D"/>
                </a:solidFill>
                <a:latin typeface="+mj-lt"/>
              </a:rPr>
            </a:br>
            <a:r>
              <a:rPr lang="en-US" dirty="0">
                <a:solidFill>
                  <a:srgbClr val="BFDF7D"/>
                </a:solidFill>
                <a:latin typeface="+mj-lt"/>
              </a:rPr>
              <a:t>MORE INFORMATION:</a:t>
            </a:r>
            <a:endParaRPr lang="en-US" dirty="0">
              <a:solidFill>
                <a:srgbClr val="BFDF7D"/>
              </a:solidFill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600" dirty="0">
              <a:solidFill>
                <a:srgbClr val="BFDF7D"/>
              </a:solidFill>
              <a:latin typeface="Gilroy Mediu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741E10-2356-AC36-2F50-E27ACBDA8EE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7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D325AC51-062E-E1F9-C2E8-2E529BC49B0B}"/>
              </a:ext>
            </a:extLst>
          </p:cNvPr>
          <p:cNvGrpSpPr/>
          <p:nvPr/>
        </p:nvGrpSpPr>
        <p:grpSpPr>
          <a:xfrm>
            <a:off x="8419128" y="1573727"/>
            <a:ext cx="731860" cy="750631"/>
            <a:chOff x="3258954" y="4109476"/>
            <a:chExt cx="2679791" cy="2748524"/>
          </a:xfrm>
        </p:grpSpPr>
        <p:sp>
          <p:nvSpPr>
            <p:cNvPr id="57" name="Rounded Rectangle 56">
              <a:extLst>
                <a:ext uri="{FF2B5EF4-FFF2-40B4-BE49-F238E27FC236}">
                  <a16:creationId xmlns:a16="http://schemas.microsoft.com/office/drawing/2014/main" id="{55CD0F27-EF2A-216B-2828-A9999B5CFDBF}"/>
                </a:ext>
              </a:extLst>
            </p:cNvPr>
            <p:cNvSpPr/>
            <p:nvPr/>
          </p:nvSpPr>
          <p:spPr>
            <a:xfrm>
              <a:off x="3271745" y="4109476"/>
              <a:ext cx="2667000" cy="2748523"/>
            </a:xfrm>
            <a:prstGeom prst="roundRect">
              <a:avLst>
                <a:gd name="adj" fmla="val 2315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8" name="Picture 57" descr="A person smiling at camera&#10;&#10;Description automatically generated">
              <a:extLst>
                <a:ext uri="{FF2B5EF4-FFF2-40B4-BE49-F238E27FC236}">
                  <a16:creationId xmlns:a16="http://schemas.microsoft.com/office/drawing/2014/main" id="{15D65063-86B8-03FC-7327-B102CE495E92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339" b="85421" l="11359" r="87751">
                          <a14:foregroundMark x1="81960" y1="74487" x2="87751" y2="79271"/>
                          <a14:foregroundMark x1="18263" y1="72665" x2="20713" y2="82005"/>
                          <a14:foregroundMark x1="45212" y1="70615" x2="34744" y2="77904"/>
                          <a14:foregroundMark x1="34744" y1="77904" x2="39198" y2="78360"/>
                          <a14:foregroundMark x1="59243" y1="75854" x2="42539" y2="83599"/>
                          <a14:foregroundMark x1="42539" y1="83599" x2="39866" y2="76765"/>
                          <a14:foregroundMark x1="18931" y1="73576" x2="12027" y2="83371"/>
                          <a14:foregroundMark x1="12027" y1="83371" x2="17149" y2="84282"/>
                          <a14:foregroundMark x1="44543" y1="10251" x2="47661" y2="9339"/>
                          <a14:backgroundMark x1="16036" y1="63326" x2="15367" y2="6492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4449" t="3775" r="19203" b="26445"/>
            <a:stretch/>
          </p:blipFill>
          <p:spPr>
            <a:xfrm>
              <a:off x="3258954" y="4109476"/>
              <a:ext cx="2670871" cy="2748524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90D4304-D982-1F0A-69EA-107B9F96A296}"/>
              </a:ext>
            </a:extLst>
          </p:cNvPr>
          <p:cNvGrpSpPr/>
          <p:nvPr/>
        </p:nvGrpSpPr>
        <p:grpSpPr>
          <a:xfrm>
            <a:off x="8426881" y="3125286"/>
            <a:ext cx="739424" cy="762026"/>
            <a:chOff x="8420346" y="3915996"/>
            <a:chExt cx="739424" cy="762026"/>
          </a:xfrm>
        </p:grpSpPr>
        <p:sp>
          <p:nvSpPr>
            <p:cNvPr id="56" name="Rounded Rectangle 55">
              <a:extLst>
                <a:ext uri="{FF2B5EF4-FFF2-40B4-BE49-F238E27FC236}">
                  <a16:creationId xmlns:a16="http://schemas.microsoft.com/office/drawing/2014/main" id="{9B56EA01-E9A8-3C15-56DB-62C38C93442E}"/>
                </a:ext>
              </a:extLst>
            </p:cNvPr>
            <p:cNvSpPr/>
            <p:nvPr/>
          </p:nvSpPr>
          <p:spPr>
            <a:xfrm>
              <a:off x="8420346" y="3915996"/>
              <a:ext cx="739424" cy="762026"/>
            </a:xfrm>
            <a:prstGeom prst="roundRect">
              <a:avLst>
                <a:gd name="adj" fmla="val 2315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BDF753AF-CB82-32AE-0C9C-27B3A6E3B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>
              <a:off x="8457102" y="3968263"/>
              <a:ext cx="702668" cy="709753"/>
            </a:xfrm>
            <a:prstGeom prst="rect">
              <a:avLst/>
            </a:prstGeom>
          </p:spPr>
        </p:pic>
      </p:grpSp>
      <p:sp>
        <p:nvSpPr>
          <p:cNvPr id="2" name="Text Placeholder 19">
            <a:extLst>
              <a:ext uri="{FF2B5EF4-FFF2-40B4-BE49-F238E27FC236}">
                <a16:creationId xmlns:a16="http://schemas.microsoft.com/office/drawing/2014/main" id="{4553C110-86FF-128D-597E-DADB447D542F}"/>
              </a:ext>
            </a:extLst>
          </p:cNvPr>
          <p:cNvSpPr txBox="1">
            <a:spLocks/>
          </p:cNvSpPr>
          <p:nvPr/>
        </p:nvSpPr>
        <p:spPr>
          <a:xfrm>
            <a:off x="3604334" y="532660"/>
            <a:ext cx="4414809" cy="5741232"/>
          </a:xfrm>
          <a:prstGeom prst="roundRect">
            <a:avLst>
              <a:gd name="adj" fmla="val 2643"/>
            </a:avLst>
          </a:prstGeom>
          <a:solidFill>
            <a:srgbClr val="0F440D"/>
          </a:solidFill>
        </p:spPr>
        <p:txBody>
          <a:bodyPr vert="horz" lIns="182880" tIns="274320" rIns="18288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ADDITIONAL RESOURCE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0C67EA3-1786-261A-9E26-EE6084B3C8A4}"/>
              </a:ext>
            </a:extLst>
          </p:cNvPr>
          <p:cNvGrpSpPr/>
          <p:nvPr/>
        </p:nvGrpSpPr>
        <p:grpSpPr>
          <a:xfrm>
            <a:off x="3688935" y="1315493"/>
            <a:ext cx="516467" cy="516467"/>
            <a:chOff x="4221651" y="1484640"/>
            <a:chExt cx="516467" cy="51646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044D523-04AC-D843-5E7E-4CA5C41B5E3B}"/>
                </a:ext>
              </a:extLst>
            </p:cNvPr>
            <p:cNvSpPr/>
            <p:nvPr/>
          </p:nvSpPr>
          <p:spPr>
            <a:xfrm>
              <a:off x="4221651" y="1484640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48" name="Graphic 47" descr="Leaf with solid fill">
              <a:extLst>
                <a:ext uri="{FF2B5EF4-FFF2-40B4-BE49-F238E27FC236}">
                  <a16:creationId xmlns:a16="http://schemas.microsoft.com/office/drawing/2014/main" id="{8FB46FDB-5EA6-0E5F-BDDA-33F43FCF8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263945" y="1527830"/>
              <a:ext cx="431878" cy="431878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4D73797-DD78-E66C-3653-B27A5EA1E426}"/>
              </a:ext>
            </a:extLst>
          </p:cNvPr>
          <p:cNvGrpSpPr/>
          <p:nvPr/>
        </p:nvGrpSpPr>
        <p:grpSpPr>
          <a:xfrm>
            <a:off x="3690737" y="4161331"/>
            <a:ext cx="516467" cy="516467"/>
            <a:chOff x="4221651" y="2686907"/>
            <a:chExt cx="516467" cy="51646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BA46A53D-925A-BBCE-5623-8DAEAA0DC236}"/>
                </a:ext>
              </a:extLst>
            </p:cNvPr>
            <p:cNvSpPr/>
            <p:nvPr/>
          </p:nvSpPr>
          <p:spPr>
            <a:xfrm>
              <a:off x="4221651" y="2686907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47FF9139-04E4-1AE2-EF24-563A6280E634}"/>
                </a:ext>
              </a:extLst>
            </p:cNvPr>
            <p:cNvPicPr>
              <a:picLocks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273429" y="2728571"/>
              <a:ext cx="422394" cy="422394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3A30A3-ABCF-B9D3-CF3E-BBFD1C7EB6A9}"/>
              </a:ext>
            </a:extLst>
          </p:cNvPr>
          <p:cNvGrpSpPr/>
          <p:nvPr/>
        </p:nvGrpSpPr>
        <p:grpSpPr>
          <a:xfrm>
            <a:off x="3695564" y="2541276"/>
            <a:ext cx="516467" cy="516467"/>
            <a:chOff x="1766692" y="3657762"/>
            <a:chExt cx="516467" cy="51646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087EFCE7-CFB9-1E84-DC21-9C880B1BBA9D}"/>
                </a:ext>
              </a:extLst>
            </p:cNvPr>
            <p:cNvSpPr/>
            <p:nvPr/>
          </p:nvSpPr>
          <p:spPr>
            <a:xfrm>
              <a:off x="1766692" y="3657762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10" name="Graphic 9" descr="Remote learning language with solid fill">
              <a:extLst>
                <a:ext uri="{FF2B5EF4-FFF2-40B4-BE49-F238E27FC236}">
                  <a16:creationId xmlns:a16="http://schemas.microsoft.com/office/drawing/2014/main" id="{11D16DF4-ECF9-34B3-A664-66942D148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1811879" y="3702949"/>
              <a:ext cx="426092" cy="426092"/>
            </a:xfrm>
            <a:prstGeom prst="rect">
              <a:avLst/>
            </a:prstGeom>
          </p:spPr>
        </p:pic>
      </p:grp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A224B1FC-77AD-27ED-4FE8-3EBC23F16C89}"/>
              </a:ext>
            </a:extLst>
          </p:cNvPr>
          <p:cNvSpPr txBox="1">
            <a:spLocks/>
          </p:cNvSpPr>
          <p:nvPr/>
        </p:nvSpPr>
        <p:spPr>
          <a:xfrm>
            <a:off x="304802" y="532660"/>
            <a:ext cx="3089072" cy="5741232"/>
          </a:xfrm>
          <a:prstGeom prst="roundRect">
            <a:avLst>
              <a:gd name="adj" fmla="val 2643"/>
            </a:avLst>
          </a:prstGeom>
          <a:solidFill>
            <a:srgbClr val="0F440D"/>
          </a:solidFill>
        </p:spPr>
        <p:txBody>
          <a:bodyPr vert="horz" lIns="182880" tIns="274320" rIns="18288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RESOURCE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SUSTAINABLE SAMPLING EVENTS TOOLK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7353EFB-9E0F-70E2-A00A-52AB247AD76A}"/>
              </a:ext>
            </a:extLst>
          </p:cNvPr>
          <p:cNvGrpSpPr/>
          <p:nvPr/>
        </p:nvGrpSpPr>
        <p:grpSpPr>
          <a:xfrm>
            <a:off x="8415346" y="4793605"/>
            <a:ext cx="739424" cy="762026"/>
            <a:chOff x="4538489" y="5008190"/>
            <a:chExt cx="739424" cy="762026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775CB82B-34CF-AD09-0187-DD3F10F15A7A}"/>
                </a:ext>
              </a:extLst>
            </p:cNvPr>
            <p:cNvSpPr>
              <a:spLocks/>
            </p:cNvSpPr>
            <p:nvPr/>
          </p:nvSpPr>
          <p:spPr>
            <a:xfrm>
              <a:off x="4538489" y="5008190"/>
              <a:ext cx="739424" cy="762026"/>
            </a:xfrm>
            <a:prstGeom prst="roundRect">
              <a:avLst>
                <a:gd name="adj" fmla="val 4422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BCCCFB2-E6C6-12E8-AEAE-3A1B1AFF8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l="3145" t="-2919" r="3628" b="27928"/>
            <a:stretch>
              <a:fillRect/>
            </a:stretch>
          </p:blipFill>
          <p:spPr>
            <a:xfrm>
              <a:off x="4548023" y="5042518"/>
              <a:ext cx="729889" cy="727698"/>
            </a:xfrm>
            <a:prstGeom prst="rect">
              <a:avLst/>
            </a:prstGeom>
            <a:solidFill>
              <a:srgbClr val="BFE07D"/>
            </a:solidFill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5CD21C91-65F8-73CA-9795-BE33F52F6700}"/>
              </a:ext>
            </a:extLst>
          </p:cNvPr>
          <p:cNvSpPr txBox="1"/>
          <p:nvPr/>
        </p:nvSpPr>
        <p:spPr>
          <a:xfrm>
            <a:off x="8320596" y="2324358"/>
            <a:ext cx="30783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SHANNA PARR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nna.parra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1C0FF52-C585-39E2-B802-79CD65722A34}"/>
              </a:ext>
            </a:extLst>
          </p:cNvPr>
          <p:cNvSpPr txBox="1"/>
          <p:nvPr/>
        </p:nvSpPr>
        <p:spPr>
          <a:xfrm>
            <a:off x="8350188" y="3963591"/>
            <a:ext cx="38418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ATHERINE WALT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herine.walton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C8E9E79-3DF1-07E2-0FF3-203AF0E0E083}"/>
              </a:ext>
            </a:extLst>
          </p:cNvPr>
          <p:cNvSpPr txBox="1"/>
          <p:nvPr/>
        </p:nvSpPr>
        <p:spPr>
          <a:xfrm>
            <a:off x="8320596" y="5551276"/>
            <a:ext cx="4321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NICOLE POPOWSK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icole.popowski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  <a:hlinkClick r:id="rId1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C4EE4B7-40B9-52A3-F9FE-4C617798682C}"/>
              </a:ext>
            </a:extLst>
          </p:cNvPr>
          <p:cNvSpPr txBox="1"/>
          <p:nvPr/>
        </p:nvSpPr>
        <p:spPr>
          <a:xfrm>
            <a:off x="4257218" y="2535706"/>
            <a:ext cx="3484115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SG TOPICS A-Z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This online resource explores the sustainability topics that matter to our business key stakeholders, from A-Z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1414569-666E-8855-8F7E-70A5DDAF5A48}"/>
              </a:ext>
            </a:extLst>
          </p:cNvPr>
          <p:cNvSpPr txBox="1"/>
          <p:nvPr/>
        </p:nvSpPr>
        <p:spPr>
          <a:xfrm>
            <a:off x="4247696" y="1285616"/>
            <a:ext cx="3677105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PSICO SUSTAINABILITY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epsiCo’s hub for strategy, goals, and progress on our PepsiCo Positive journey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67447DB-A91D-25EC-EFCA-ABE83EAE6807}"/>
              </a:ext>
            </a:extLst>
          </p:cNvPr>
          <p:cNvSpPr txBox="1"/>
          <p:nvPr/>
        </p:nvSpPr>
        <p:spPr>
          <a:xfrm>
            <a:off x="4247696" y="4146834"/>
            <a:ext cx="3677105" cy="1738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TEST ENVIRONMENTA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                           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CIAL AND GOVERNANCE (ESG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)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RT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ccess PepsiCo’s ESG metrics and reports, which are updated on a rolling basis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238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1565AA-D4A3-FF67-8D0C-D55D1D8248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0A72F6C-4538-82EA-196F-182A8ADC463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49" name="Rectangle: Single Corner Rounded 48">
            <a:extLst>
              <a:ext uri="{FF2B5EF4-FFF2-40B4-BE49-F238E27FC236}">
                <a16:creationId xmlns:a16="http://schemas.microsoft.com/office/drawing/2014/main" id="{1D64545E-9A14-05B1-1912-9AA433AA108F}"/>
              </a:ext>
            </a:extLst>
          </p:cNvPr>
          <p:cNvSpPr/>
          <p:nvPr/>
        </p:nvSpPr>
        <p:spPr>
          <a:xfrm flipH="1">
            <a:off x="6057895" y="4155813"/>
            <a:ext cx="6134102" cy="2702188"/>
          </a:xfrm>
          <a:prstGeom prst="round1Rect">
            <a:avLst>
              <a:gd name="adj" fmla="val 6797"/>
            </a:avLst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E60ECB3-F793-AF70-1B32-0F4F0684652F}"/>
              </a:ext>
            </a:extLst>
          </p:cNvPr>
          <p:cNvSpPr/>
          <p:nvPr/>
        </p:nvSpPr>
        <p:spPr>
          <a:xfrm>
            <a:off x="6058060" y="5325359"/>
            <a:ext cx="6133939" cy="619590"/>
          </a:xfrm>
          <a:prstGeom prst="rect">
            <a:avLst/>
          </a:prstGeom>
          <a:solidFill>
            <a:srgbClr val="0F440E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CD2C602-A8A5-E718-752C-904F18774304}"/>
              </a:ext>
            </a:extLst>
          </p:cNvPr>
          <p:cNvSpPr/>
          <p:nvPr/>
        </p:nvSpPr>
        <p:spPr>
          <a:xfrm>
            <a:off x="6058060" y="6025142"/>
            <a:ext cx="6133939" cy="619590"/>
          </a:xfrm>
          <a:prstGeom prst="rect">
            <a:avLst/>
          </a:prstGeom>
          <a:solidFill>
            <a:srgbClr val="0F440E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pic>
        <p:nvPicPr>
          <p:cNvPr id="46" name="Picture 45" descr="A green leaf pattern with a few green leaves&#10;&#10;AI-generated content may be incorrect.">
            <a:extLst>
              <a:ext uri="{FF2B5EF4-FFF2-40B4-BE49-F238E27FC236}">
                <a16:creationId xmlns:a16="http://schemas.microsoft.com/office/drawing/2014/main" id="{6CC41CAE-6E22-E457-FE72-918BC1C1332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rcRect r="54532"/>
          <a:stretch>
            <a:fillRect/>
          </a:stretch>
        </p:blipFill>
        <p:spPr>
          <a:xfrm>
            <a:off x="0" y="0"/>
            <a:ext cx="5543548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170F8102-4245-618F-FBAA-4CB85D763D7D}"/>
              </a:ext>
            </a:extLst>
          </p:cNvPr>
          <p:cNvSpPr/>
          <p:nvPr/>
        </p:nvSpPr>
        <p:spPr>
          <a:xfrm>
            <a:off x="1" y="0"/>
            <a:ext cx="5543548" cy="6857999"/>
          </a:xfrm>
          <a:prstGeom prst="rect">
            <a:avLst/>
          </a:prstGeom>
          <a:solidFill>
            <a:srgbClr val="2B660F">
              <a:alpha val="8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965F38B-2132-872A-85AE-03D9C22F57E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5F38B-2132-872A-85AE-03D9C22F5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erson pouring a drink into a cup&#10;&#10;AI-generated content may be incorrect.">
            <a:extLst>
              <a:ext uri="{FF2B5EF4-FFF2-40B4-BE49-F238E27FC236}">
                <a16:creationId xmlns:a16="http://schemas.microsoft.com/office/drawing/2014/main" id="{443E0181-1C30-DD4A-DCB9-6797C231B44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2" r="3331"/>
          <a:stretch>
            <a:fillRect/>
          </a:stretch>
        </p:blipFill>
        <p:spPr>
          <a:xfrm>
            <a:off x="304800" y="2306427"/>
            <a:ext cx="4933950" cy="4066501"/>
          </a:xfrm>
          <a:prstGeom prst="roundRect">
            <a:avLst>
              <a:gd name="adj" fmla="val 3469"/>
            </a:avLst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EF5F5A46-14B4-D8D6-C7B1-595D1F8C0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247650"/>
            <a:ext cx="4933949" cy="968375"/>
          </a:xfrm>
        </p:spPr>
        <p:txBody>
          <a:bodyPr/>
          <a:lstStyle/>
          <a:p>
            <a:r>
              <a:rPr lang="en-US" sz="4800" dirty="0">
                <a:solidFill>
                  <a:srgbClr val="8DBD29"/>
                </a:solidFill>
              </a:rPr>
              <a:t>SUSTAINABLE SAMPLING EVENTS TOOLKIT</a:t>
            </a:r>
          </a:p>
        </p:txBody>
      </p:sp>
      <p:sp>
        <p:nvSpPr>
          <p:cNvPr id="32" name="Rectangle: Top Corners Rounded 31">
            <a:extLst>
              <a:ext uri="{FF2B5EF4-FFF2-40B4-BE49-F238E27FC236}">
                <a16:creationId xmlns:a16="http://schemas.microsoft.com/office/drawing/2014/main" id="{002295C7-BBE6-AD93-BF5C-5D4971BD9A23}"/>
              </a:ext>
            </a:extLst>
          </p:cNvPr>
          <p:cNvSpPr/>
          <p:nvPr/>
        </p:nvSpPr>
        <p:spPr>
          <a:xfrm>
            <a:off x="5753100" y="1045481"/>
            <a:ext cx="6134100" cy="1210114"/>
          </a:xfrm>
          <a:prstGeom prst="round2SameRect">
            <a:avLst>
              <a:gd name="adj1" fmla="val 0"/>
              <a:gd name="adj2" fmla="val 7919"/>
            </a:avLst>
          </a:prstGeom>
          <a:solidFill>
            <a:srgbClr val="8DBD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Ensure that bottles, cans, cups, plates,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nd utensils that are used for sampling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re recycled, reused, or composted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F69BDEF-0872-D7D4-FD96-0B716524C7F8}"/>
              </a:ext>
            </a:extLst>
          </p:cNvPr>
          <p:cNvSpPr txBox="1">
            <a:spLocks/>
          </p:cNvSpPr>
          <p:nvPr/>
        </p:nvSpPr>
        <p:spPr>
          <a:xfrm>
            <a:off x="5753101" y="564071"/>
            <a:ext cx="2637687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33CC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OBJECTIVE</a:t>
            </a: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58A7CC4B-6038-17CD-99F1-A42ABE79B461}"/>
              </a:ext>
            </a:extLst>
          </p:cNvPr>
          <p:cNvSpPr/>
          <p:nvPr/>
        </p:nvSpPr>
        <p:spPr>
          <a:xfrm>
            <a:off x="5753100" y="2885143"/>
            <a:ext cx="6134100" cy="955410"/>
          </a:xfrm>
          <a:prstGeom prst="round2SameRect">
            <a:avLst>
              <a:gd name="adj1" fmla="val 0"/>
              <a:gd name="adj2" fmla="val 11907"/>
            </a:avLst>
          </a:prstGeom>
          <a:solidFill>
            <a:srgbClr val="8DBD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Elevate and increase interest in pep+ initiatives by “Walking the Walk” at tradeshows and PepsiCo events 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D17243A7-8E10-CCAE-FABD-0C5DB065F28A}"/>
              </a:ext>
            </a:extLst>
          </p:cNvPr>
          <p:cNvSpPr txBox="1">
            <a:spLocks/>
          </p:cNvSpPr>
          <p:nvPr/>
        </p:nvSpPr>
        <p:spPr>
          <a:xfrm>
            <a:off x="5753101" y="2403733"/>
            <a:ext cx="2637687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33CC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OPPORTUNITY</a:t>
            </a:r>
          </a:p>
        </p:txBody>
      </p:sp>
      <p:pic>
        <p:nvPicPr>
          <p:cNvPr id="24" name="Picture 23" descr="A close up of a can&#10;&#10;AI-generated content may be incorrect.">
            <a:extLst>
              <a:ext uri="{FF2B5EF4-FFF2-40B4-BE49-F238E27FC236}">
                <a16:creationId xmlns:a16="http://schemas.microsoft.com/office/drawing/2014/main" id="{3FB33F8A-8652-4BE7-A9E0-ED39F7947F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6547" y="678256"/>
            <a:ext cx="775563" cy="1508040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76431049-F52A-D9CA-9A1C-F13AF5A20E15}"/>
              </a:ext>
            </a:extLst>
          </p:cNvPr>
          <p:cNvGrpSpPr/>
          <p:nvPr/>
        </p:nvGrpSpPr>
        <p:grpSpPr>
          <a:xfrm>
            <a:off x="10804222" y="1239517"/>
            <a:ext cx="1124252" cy="1016078"/>
            <a:chOff x="10801047" y="1021914"/>
            <a:chExt cx="1124252" cy="1016078"/>
          </a:xfrm>
        </p:grpSpPr>
        <p:pic>
          <p:nvPicPr>
            <p:cNvPr id="3" name="Picture 2" descr="A white plastic cup on a black background&#10;&#10;AI-generated content may be incorrect.">
              <a:extLst>
                <a:ext uri="{FF2B5EF4-FFF2-40B4-BE49-F238E27FC236}">
                  <a16:creationId xmlns:a16="http://schemas.microsoft.com/office/drawing/2014/main" id="{4F957656-2026-7A4B-1448-8DE1A3BC8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01047" y="1021914"/>
              <a:ext cx="1124252" cy="1016078"/>
            </a:xfrm>
            <a:prstGeom prst="rect">
              <a:avLst/>
            </a:prstGeom>
          </p:spPr>
        </p:pic>
        <p:pic>
          <p:nvPicPr>
            <p:cNvPr id="65" name="Picture 64" descr="A logo of a soda company&#10;&#10;AI-generated content may be incorrect.">
              <a:extLst>
                <a:ext uri="{FF2B5EF4-FFF2-40B4-BE49-F238E27FC236}">
                  <a16:creationId xmlns:a16="http://schemas.microsoft.com/office/drawing/2014/main" id="{885E9EE6-D500-D6AB-126E-49EEE6F6C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6725" y="1213563"/>
              <a:ext cx="540926" cy="540924"/>
            </a:xfrm>
            <a:prstGeom prst="rect">
              <a:avLst/>
            </a:prstGeom>
          </p:spPr>
        </p:pic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110E7C7D-2469-A7D6-04C3-AD5F62D6800E}"/>
              </a:ext>
            </a:extLst>
          </p:cNvPr>
          <p:cNvSpPr txBox="1">
            <a:spLocks/>
          </p:cNvSpPr>
          <p:nvPr/>
        </p:nvSpPr>
        <p:spPr>
          <a:xfrm>
            <a:off x="6278880" y="4353543"/>
            <a:ext cx="560832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33CC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QUESTIONS? 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REACH OUT FOR MORE INFORM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65DD85-7D06-2069-9E56-F6CE4CAB3ACE}"/>
              </a:ext>
            </a:extLst>
          </p:cNvPr>
          <p:cNvSpPr txBox="1"/>
          <p:nvPr/>
        </p:nvSpPr>
        <p:spPr>
          <a:xfrm>
            <a:off x="6278880" y="5496655"/>
            <a:ext cx="1822339" cy="24622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DAF24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hanna Parra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E86819E-FA32-3B96-4054-808DC1A0B628}"/>
              </a:ext>
            </a:extLst>
          </p:cNvPr>
          <p:cNvSpPr txBox="1"/>
          <p:nvPr/>
        </p:nvSpPr>
        <p:spPr>
          <a:xfrm>
            <a:off x="6278879" y="6196438"/>
            <a:ext cx="1822339" cy="24622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DAF24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atherine Walton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E3FF789-05E9-E862-F2A8-25DE63E0C21A}"/>
              </a:ext>
            </a:extLst>
          </p:cNvPr>
          <p:cNvSpPr txBox="1"/>
          <p:nvPr/>
        </p:nvSpPr>
        <p:spPr>
          <a:xfrm>
            <a:off x="8390788" y="5496655"/>
            <a:ext cx="3360415" cy="24622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nna.parra@pepsico.co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B82CFAF-F09D-879F-7E56-A6C0B2A4F156}"/>
              </a:ext>
            </a:extLst>
          </p:cNvPr>
          <p:cNvSpPr txBox="1"/>
          <p:nvPr/>
        </p:nvSpPr>
        <p:spPr>
          <a:xfrm>
            <a:off x="8390788" y="6196438"/>
            <a:ext cx="3401690" cy="24622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herine.walton@pepsico.co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1E069CA-2A44-0B73-4A12-750C4E7B1529}"/>
              </a:ext>
            </a:extLst>
          </p:cNvPr>
          <p:cNvSpPr txBox="1"/>
          <p:nvPr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6B5273-46EB-4870-A6B0-6E7F43CBD6D0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BFDE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E7637F8-C956-AAFC-56FC-6CF2EA5EB6CC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NFIDENTIAL</a:t>
            </a:r>
          </a:p>
        </p:txBody>
      </p:sp>
      <p:pic>
        <p:nvPicPr>
          <p:cNvPr id="83" name="Picture 82" descr="A person wearing gloves and a white shirt&#10;&#10;AI-generated content may be incorrect.">
            <a:extLst>
              <a:ext uri="{FF2B5EF4-FFF2-40B4-BE49-F238E27FC236}">
                <a16:creationId xmlns:a16="http://schemas.microsoft.com/office/drawing/2014/main" id="{75F7CA63-D873-908B-0EA3-4BA200D758A3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490" t="5323" r="3443"/>
          <a:stretch>
            <a:fillRect/>
          </a:stretch>
        </p:blipFill>
        <p:spPr>
          <a:xfrm>
            <a:off x="304800" y="1585642"/>
            <a:ext cx="4933949" cy="4744153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F853DBA-189F-D487-20C6-D6B099385272}"/>
              </a:ext>
            </a:extLst>
          </p:cNvPr>
          <p:cNvGrpSpPr/>
          <p:nvPr/>
        </p:nvGrpSpPr>
        <p:grpSpPr>
          <a:xfrm>
            <a:off x="10590414" y="0"/>
            <a:ext cx="1601585" cy="374073"/>
            <a:chOff x="10590414" y="0"/>
            <a:chExt cx="1601585" cy="37407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BC4949F-2145-ABCC-03FB-B3B737349872}"/>
                </a:ext>
              </a:extLst>
            </p:cNvPr>
            <p:cNvGrpSpPr/>
            <p:nvPr/>
          </p:nvGrpSpPr>
          <p:grpSpPr>
            <a:xfrm>
              <a:off x="10590414" y="0"/>
              <a:ext cx="1601585" cy="374073"/>
              <a:chOff x="10590414" y="-1"/>
              <a:chExt cx="1601585" cy="374073"/>
            </a:xfrm>
            <a:solidFill>
              <a:srgbClr val="EC9F0B"/>
            </a:solidFill>
          </p:grpSpPr>
          <p:sp>
            <p:nvSpPr>
              <p:cNvPr id="11" name="Rounded Rectangle 9">
                <a:extLst>
                  <a:ext uri="{FF2B5EF4-FFF2-40B4-BE49-F238E27FC236}">
                    <a16:creationId xmlns:a16="http://schemas.microsoft.com/office/drawing/2014/main" id="{AEDA45B1-F5D7-AB3A-70BE-26052879084D}"/>
                  </a:ext>
                </a:extLst>
              </p:cNvPr>
              <p:cNvSpPr/>
              <p:nvPr/>
            </p:nvSpPr>
            <p:spPr>
              <a:xfrm>
                <a:off x="10590414" y="-1"/>
                <a:ext cx="1601585" cy="37407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96B87801-2B1B-95B0-BFF7-88C744259B24}"/>
                  </a:ext>
                </a:extLst>
              </p:cNvPr>
              <p:cNvSpPr/>
              <p:nvPr/>
            </p:nvSpPr>
            <p:spPr>
              <a:xfrm>
                <a:off x="11776363" y="0"/>
                <a:ext cx="415636" cy="37407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4DCF297-942E-6160-CA9F-7365F13FB895}"/>
                  </a:ext>
                </a:extLst>
              </p:cNvPr>
              <p:cNvSpPr/>
              <p:nvPr/>
            </p:nvSpPr>
            <p:spPr>
              <a:xfrm>
                <a:off x="10590414" y="0"/>
                <a:ext cx="415636" cy="1828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522CCE9-9F9D-8185-E810-C9F902E0D0A8}"/>
                </a:ext>
              </a:extLst>
            </p:cNvPr>
            <p:cNvSpPr txBox="1"/>
            <p:nvPr/>
          </p:nvSpPr>
          <p:spPr>
            <a:xfrm>
              <a:off x="10698193" y="98858"/>
              <a:ext cx="1493806" cy="182881"/>
            </a:xfrm>
            <a:prstGeom prst="rect">
              <a:avLst/>
            </a:prstGeom>
            <a:solidFill>
              <a:srgbClr val="EC9F0B"/>
            </a:solidFill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 panose="00000600000000000000" pitchFamily="50" charset="0"/>
                  <a:ea typeface="+mn-ea"/>
                  <a:cs typeface="Arial" panose="020B0604020202020204" pitchFamily="34" charset="0"/>
                </a:rPr>
                <a:t>INTERNAL USE ON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41720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3D9B79-FCAE-A7AF-E4CF-29A91C0F00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2DA4F916-3850-5F85-962B-1AE44538A8EA}"/>
              </a:ext>
            </a:extLst>
          </p:cNvPr>
          <p:cNvSpPr/>
          <p:nvPr/>
        </p:nvSpPr>
        <p:spPr>
          <a:xfrm>
            <a:off x="301625" y="5373224"/>
            <a:ext cx="11588750" cy="879231"/>
          </a:xfrm>
          <a:prstGeom prst="round2SameRect">
            <a:avLst>
              <a:gd name="adj1" fmla="val 0"/>
              <a:gd name="adj2" fmla="val 11158"/>
            </a:avLst>
          </a:prstGeom>
          <a:solidFill>
            <a:schemeClr val="accent3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Working with an agency for sampling? </a:t>
            </a: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Make sure they understand their responsibility around properly disposing of sampling materials post-event and that they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have a plan in place for recycling and composting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75220D8-0C95-6304-423D-9792CD6ED2CF}"/>
              </a:ext>
            </a:extLst>
          </p:cNvPr>
          <p:cNvSpPr/>
          <p:nvPr/>
        </p:nvSpPr>
        <p:spPr>
          <a:xfrm>
            <a:off x="0" y="3896041"/>
            <a:ext cx="12192000" cy="1477183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67B9B5B-00CC-6061-4022-84AE74CEE962}"/>
              </a:ext>
            </a:extLst>
          </p:cNvPr>
          <p:cNvCxnSpPr>
            <a:cxnSpLocks/>
          </p:cNvCxnSpPr>
          <p:nvPr/>
        </p:nvCxnSpPr>
        <p:spPr>
          <a:xfrm>
            <a:off x="2527104" y="3896041"/>
            <a:ext cx="0" cy="147718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D00A366-1702-7A57-9B23-A066E10528BF}"/>
              </a:ext>
            </a:extLst>
          </p:cNvPr>
          <p:cNvCxnSpPr>
            <a:cxnSpLocks/>
          </p:cNvCxnSpPr>
          <p:nvPr/>
        </p:nvCxnSpPr>
        <p:spPr>
          <a:xfrm>
            <a:off x="4880969" y="3896041"/>
            <a:ext cx="0" cy="147718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9FFCD16-275B-1647-D0FD-544F44260A52}"/>
              </a:ext>
            </a:extLst>
          </p:cNvPr>
          <p:cNvCxnSpPr>
            <a:cxnSpLocks/>
          </p:cNvCxnSpPr>
          <p:nvPr/>
        </p:nvCxnSpPr>
        <p:spPr>
          <a:xfrm>
            <a:off x="7234834" y="3896041"/>
            <a:ext cx="0" cy="147718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6E4FEBC-553F-098C-C4D6-61804F453B1A}"/>
              </a:ext>
            </a:extLst>
          </p:cNvPr>
          <p:cNvCxnSpPr>
            <a:cxnSpLocks/>
          </p:cNvCxnSpPr>
          <p:nvPr/>
        </p:nvCxnSpPr>
        <p:spPr>
          <a:xfrm>
            <a:off x="9588699" y="3896041"/>
            <a:ext cx="0" cy="147718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>
            <a:extLst>
              <a:ext uri="{FF2B5EF4-FFF2-40B4-BE49-F238E27FC236}">
                <a16:creationId xmlns:a16="http://schemas.microsoft.com/office/drawing/2014/main" id="{E6D1BED1-2F80-5C49-6D97-55AC3FA7F4B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0" r="16256"/>
          <a:stretch>
            <a:fillRect/>
          </a:stretch>
        </p:blipFill>
        <p:spPr>
          <a:xfrm>
            <a:off x="2658666" y="1153085"/>
            <a:ext cx="2166941" cy="1863724"/>
          </a:xfrm>
          <a:custGeom>
            <a:avLst/>
            <a:gdLst>
              <a:gd name="connsiteX0" fmla="*/ 110593 w 2166941"/>
              <a:gd name="connsiteY0" fmla="*/ 0 h 1863724"/>
              <a:gd name="connsiteX1" fmla="*/ 2056348 w 2166941"/>
              <a:gd name="connsiteY1" fmla="*/ 0 h 1863724"/>
              <a:gd name="connsiteX2" fmla="*/ 2166941 w 2166941"/>
              <a:gd name="connsiteY2" fmla="*/ 110593 h 1863724"/>
              <a:gd name="connsiteX3" fmla="*/ 2166941 w 2166941"/>
              <a:gd name="connsiteY3" fmla="*/ 1753131 h 1863724"/>
              <a:gd name="connsiteX4" fmla="*/ 2056348 w 2166941"/>
              <a:gd name="connsiteY4" fmla="*/ 1863724 h 1863724"/>
              <a:gd name="connsiteX5" fmla="*/ 110593 w 2166941"/>
              <a:gd name="connsiteY5" fmla="*/ 1863724 h 1863724"/>
              <a:gd name="connsiteX6" fmla="*/ 0 w 2166941"/>
              <a:gd name="connsiteY6" fmla="*/ 1753131 h 1863724"/>
              <a:gd name="connsiteX7" fmla="*/ 0 w 2166941"/>
              <a:gd name="connsiteY7" fmla="*/ 110593 h 1863724"/>
              <a:gd name="connsiteX8" fmla="*/ 110593 w 2166941"/>
              <a:gd name="connsiteY8" fmla="*/ 0 h 1863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941" h="1863724">
                <a:moveTo>
                  <a:pt x="110593" y="0"/>
                </a:moveTo>
                <a:lnTo>
                  <a:pt x="2056348" y="0"/>
                </a:lnTo>
                <a:cubicBezTo>
                  <a:pt x="2117427" y="0"/>
                  <a:pt x="2166941" y="49514"/>
                  <a:pt x="2166941" y="110593"/>
                </a:cubicBezTo>
                <a:lnTo>
                  <a:pt x="2166941" y="1753131"/>
                </a:lnTo>
                <a:cubicBezTo>
                  <a:pt x="2166941" y="1814210"/>
                  <a:pt x="2117427" y="1863724"/>
                  <a:pt x="2056348" y="1863724"/>
                </a:cubicBezTo>
                <a:lnTo>
                  <a:pt x="110593" y="1863724"/>
                </a:lnTo>
                <a:cubicBezTo>
                  <a:pt x="49514" y="1863724"/>
                  <a:pt x="0" y="1814210"/>
                  <a:pt x="0" y="1753131"/>
                </a:cubicBezTo>
                <a:lnTo>
                  <a:pt x="0" y="110593"/>
                </a:lnTo>
                <a:cubicBezTo>
                  <a:pt x="0" y="49514"/>
                  <a:pt x="49514" y="0"/>
                  <a:pt x="110593" y="0"/>
                </a:cubicBezTo>
                <a:close/>
              </a:path>
            </a:pathLst>
          </a:custGeom>
        </p:spPr>
      </p:pic>
      <p:pic>
        <p:nvPicPr>
          <p:cNvPr id="35" name="Picture 34" descr="A large building with a large sign&#10;&#10;Description automatically generated with medium confidence">
            <a:extLst>
              <a:ext uri="{FF2B5EF4-FFF2-40B4-BE49-F238E27FC236}">
                <a16:creationId xmlns:a16="http://schemas.microsoft.com/office/drawing/2014/main" id="{F13E1C97-6692-7731-A32F-7DCD288F3EA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3" r="6443"/>
          <a:stretch>
            <a:fillRect/>
          </a:stretch>
        </p:blipFill>
        <p:spPr>
          <a:xfrm>
            <a:off x="304801" y="1153085"/>
            <a:ext cx="2166941" cy="1863724"/>
          </a:xfrm>
          <a:custGeom>
            <a:avLst/>
            <a:gdLst>
              <a:gd name="connsiteX0" fmla="*/ 110593 w 2166941"/>
              <a:gd name="connsiteY0" fmla="*/ 0 h 1863724"/>
              <a:gd name="connsiteX1" fmla="*/ 2056348 w 2166941"/>
              <a:gd name="connsiteY1" fmla="*/ 0 h 1863724"/>
              <a:gd name="connsiteX2" fmla="*/ 2166941 w 2166941"/>
              <a:gd name="connsiteY2" fmla="*/ 110593 h 1863724"/>
              <a:gd name="connsiteX3" fmla="*/ 2166941 w 2166941"/>
              <a:gd name="connsiteY3" fmla="*/ 1753131 h 1863724"/>
              <a:gd name="connsiteX4" fmla="*/ 2056348 w 2166941"/>
              <a:gd name="connsiteY4" fmla="*/ 1863724 h 1863724"/>
              <a:gd name="connsiteX5" fmla="*/ 110593 w 2166941"/>
              <a:gd name="connsiteY5" fmla="*/ 1863724 h 1863724"/>
              <a:gd name="connsiteX6" fmla="*/ 0 w 2166941"/>
              <a:gd name="connsiteY6" fmla="*/ 1753131 h 1863724"/>
              <a:gd name="connsiteX7" fmla="*/ 0 w 2166941"/>
              <a:gd name="connsiteY7" fmla="*/ 110593 h 1863724"/>
              <a:gd name="connsiteX8" fmla="*/ 110593 w 2166941"/>
              <a:gd name="connsiteY8" fmla="*/ 0 h 1863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941" h="1863724">
                <a:moveTo>
                  <a:pt x="110593" y="0"/>
                </a:moveTo>
                <a:lnTo>
                  <a:pt x="2056348" y="0"/>
                </a:lnTo>
                <a:cubicBezTo>
                  <a:pt x="2117427" y="0"/>
                  <a:pt x="2166941" y="49514"/>
                  <a:pt x="2166941" y="110593"/>
                </a:cubicBezTo>
                <a:lnTo>
                  <a:pt x="2166941" y="1753131"/>
                </a:lnTo>
                <a:cubicBezTo>
                  <a:pt x="2166941" y="1814210"/>
                  <a:pt x="2117427" y="1863724"/>
                  <a:pt x="2056348" y="1863724"/>
                </a:cubicBezTo>
                <a:lnTo>
                  <a:pt x="110593" y="1863724"/>
                </a:lnTo>
                <a:cubicBezTo>
                  <a:pt x="49514" y="1863724"/>
                  <a:pt x="0" y="1814210"/>
                  <a:pt x="0" y="1753131"/>
                </a:cubicBezTo>
                <a:lnTo>
                  <a:pt x="0" y="110593"/>
                </a:lnTo>
                <a:cubicBezTo>
                  <a:pt x="0" y="49514"/>
                  <a:pt x="49514" y="0"/>
                  <a:pt x="110593" y="0"/>
                </a:cubicBezTo>
                <a:close/>
              </a:path>
            </a:pathLst>
          </a:custGeom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76DE9EB-8E1D-9FE8-B809-21D9CF3DD094}"/>
              </a:ext>
            </a:extLst>
          </p:cNvPr>
          <p:cNvSpPr/>
          <p:nvPr/>
        </p:nvSpPr>
        <p:spPr>
          <a:xfrm>
            <a:off x="5012530" y="1153085"/>
            <a:ext cx="2166941" cy="1863724"/>
          </a:xfrm>
          <a:prstGeom prst="roundRect">
            <a:avLst>
              <a:gd name="adj" fmla="val 593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9E1AB53-EF00-4587-BB4D-ECB2FC715DE7}"/>
              </a:ext>
            </a:extLst>
          </p:cNvPr>
          <p:cNvSpPr/>
          <p:nvPr/>
        </p:nvSpPr>
        <p:spPr>
          <a:xfrm>
            <a:off x="7366395" y="1153085"/>
            <a:ext cx="2166941" cy="1863724"/>
          </a:xfrm>
          <a:prstGeom prst="roundRect">
            <a:avLst>
              <a:gd name="adj" fmla="val 593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273356-F9FB-F15D-CF5D-505882F98100}"/>
              </a:ext>
            </a:extLst>
          </p:cNvPr>
          <p:cNvSpPr/>
          <p:nvPr/>
        </p:nvSpPr>
        <p:spPr>
          <a:xfrm>
            <a:off x="9720259" y="1153085"/>
            <a:ext cx="2166941" cy="1863724"/>
          </a:xfrm>
          <a:prstGeom prst="roundRect">
            <a:avLst>
              <a:gd name="adj" fmla="val 593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8132BB8-9756-4882-CC8D-BB22144C327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132BB8-9756-4882-CC8D-BB22144C3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>
            <a:extLst>
              <a:ext uri="{FF2B5EF4-FFF2-40B4-BE49-F238E27FC236}">
                <a16:creationId xmlns:a16="http://schemas.microsoft.com/office/drawing/2014/main" id="{FE8B1C3D-93DC-E93C-13D1-2F01B9C58FBF}"/>
              </a:ext>
            </a:extLst>
          </p:cNvPr>
          <p:cNvSpPr/>
          <p:nvPr/>
        </p:nvSpPr>
        <p:spPr>
          <a:xfrm>
            <a:off x="5012529" y="3124027"/>
            <a:ext cx="2166941" cy="66479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OLLECTION BINS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884BB15-D093-50CA-0D6C-23084987C98E}"/>
              </a:ext>
            </a:extLst>
          </p:cNvPr>
          <p:cNvSpPr>
            <a:spLocks/>
          </p:cNvSpPr>
          <p:nvPr/>
        </p:nvSpPr>
        <p:spPr>
          <a:xfrm>
            <a:off x="2658665" y="3124027"/>
            <a:ext cx="2166941" cy="66479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SAMPLING MATERIAL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4C1EEEDD-4861-57DF-D4F4-185FD7214DB7}"/>
              </a:ext>
            </a:extLst>
          </p:cNvPr>
          <p:cNvSpPr>
            <a:spLocks/>
          </p:cNvSpPr>
          <p:nvPr/>
        </p:nvSpPr>
        <p:spPr>
          <a:xfrm>
            <a:off x="7366395" y="3124027"/>
            <a:ext cx="2166941" cy="66479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SORTATION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D3EF999-EB41-CEC7-D332-FBDF51AAB09B}"/>
              </a:ext>
            </a:extLst>
          </p:cNvPr>
          <p:cNvSpPr/>
          <p:nvPr/>
        </p:nvSpPr>
        <p:spPr>
          <a:xfrm>
            <a:off x="9720258" y="3124027"/>
            <a:ext cx="2166941" cy="66479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POST-EVENT DATA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E2F9B426-5910-2F32-3B80-E21A890B11AE}"/>
              </a:ext>
            </a:extLst>
          </p:cNvPr>
          <p:cNvSpPr/>
          <p:nvPr/>
        </p:nvSpPr>
        <p:spPr>
          <a:xfrm>
            <a:off x="304801" y="3124027"/>
            <a:ext cx="2166941" cy="66479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EVENT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VENUE</a:t>
            </a:r>
          </a:p>
        </p:txBody>
      </p:sp>
      <p:pic>
        <p:nvPicPr>
          <p:cNvPr id="6" name="Picture 5" descr="A plastic container with a label&#10;&#10;AI-generated content may be incorrect.">
            <a:extLst>
              <a:ext uri="{FF2B5EF4-FFF2-40B4-BE49-F238E27FC236}">
                <a16:creationId xmlns:a16="http://schemas.microsoft.com/office/drawing/2014/main" id="{26E39953-D095-EE9B-088E-C8D047F311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180" y="858137"/>
            <a:ext cx="1808320" cy="2257366"/>
          </a:xfrm>
          <a:prstGeom prst="rect">
            <a:avLst/>
          </a:prstGeom>
        </p:spPr>
      </p:pic>
      <p:pic>
        <p:nvPicPr>
          <p:cNvPr id="10" name="Picture 9" descr="A blue and green dumpster&#10;&#10;AI-generated content may be incorrect.">
            <a:extLst>
              <a:ext uri="{FF2B5EF4-FFF2-40B4-BE49-F238E27FC236}">
                <a16:creationId xmlns:a16="http://schemas.microsoft.com/office/drawing/2014/main" id="{F4567E9E-4A58-5A78-BBA8-3E5916DDDE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88" t="-6922" r="17760"/>
          <a:stretch>
            <a:fillRect/>
          </a:stretch>
        </p:blipFill>
        <p:spPr>
          <a:xfrm>
            <a:off x="7423291" y="1181911"/>
            <a:ext cx="2094770" cy="1729532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86BCA6DC-588B-B3D9-A6F1-A7E8B95AC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</p:spPr>
        <p:txBody>
          <a:bodyPr/>
          <a:lstStyle/>
          <a:p>
            <a:r>
              <a:rPr lang="en-US" dirty="0"/>
              <a:t>SUSTAINABLE SAMPLING GUIDELIN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BFFC2B5-3D22-BE97-3006-6FB3705C383F}"/>
              </a:ext>
            </a:extLst>
          </p:cNvPr>
          <p:cNvGrpSpPr/>
          <p:nvPr/>
        </p:nvGrpSpPr>
        <p:grpSpPr>
          <a:xfrm>
            <a:off x="9872608" y="1471187"/>
            <a:ext cx="1862242" cy="1227520"/>
            <a:chOff x="9760987" y="1535872"/>
            <a:chExt cx="1983784" cy="1307636"/>
          </a:xfrm>
        </p:grpSpPr>
        <p:pic>
          <p:nvPicPr>
            <p:cNvPr id="70" name="Picture 69" descr="A screenshot of a cell phone&#10;&#10;AI-generated content may be incorrect.">
              <a:extLst>
                <a:ext uri="{FF2B5EF4-FFF2-40B4-BE49-F238E27FC236}">
                  <a16:creationId xmlns:a16="http://schemas.microsoft.com/office/drawing/2014/main" id="{D6F042D1-B16A-EE17-255C-8AC04FFE58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066" t="17629" r="36074" b="14041"/>
            <a:stretch>
              <a:fillRect/>
            </a:stretch>
          </p:blipFill>
          <p:spPr>
            <a:xfrm>
              <a:off x="10786271" y="1535872"/>
              <a:ext cx="958500" cy="1307636"/>
            </a:xfrm>
            <a:prstGeom prst="rect">
              <a:avLst/>
            </a:prstGeom>
          </p:spPr>
        </p:pic>
        <p:pic>
          <p:nvPicPr>
            <p:cNvPr id="37" name="Picture 36" descr="A screenshot of a cell phone&#10;&#10;AI-generated content may be incorrect.">
              <a:extLst>
                <a:ext uri="{FF2B5EF4-FFF2-40B4-BE49-F238E27FC236}">
                  <a16:creationId xmlns:a16="http://schemas.microsoft.com/office/drawing/2014/main" id="{4D6386BB-47E7-0D4B-F348-76E11D6D5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82" t="17629" r="68558" b="14041"/>
            <a:stretch>
              <a:fillRect/>
            </a:stretch>
          </p:blipFill>
          <p:spPr>
            <a:xfrm>
              <a:off x="9760987" y="1535872"/>
              <a:ext cx="958500" cy="1307636"/>
            </a:xfrm>
            <a:prstGeom prst="rect">
              <a:avLst/>
            </a:prstGeom>
          </p:spPr>
        </p:pic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F8E7A83E-7873-C8C8-58CF-87221068822A}"/>
              </a:ext>
            </a:extLst>
          </p:cNvPr>
          <p:cNvSpPr/>
          <p:nvPr/>
        </p:nvSpPr>
        <p:spPr>
          <a:xfrm>
            <a:off x="2658666" y="3993909"/>
            <a:ext cx="2090741" cy="112306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hose recyclable, reusable, or compostable sampling cups &amp; dishware based on venue capacit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150C401-295B-EC3B-E9CB-7B1BD74E54BC}"/>
              </a:ext>
            </a:extLst>
          </p:cNvPr>
          <p:cNvSpPr/>
          <p:nvPr/>
        </p:nvSpPr>
        <p:spPr>
          <a:xfrm>
            <a:off x="5012531" y="3993909"/>
            <a:ext cx="2090741" cy="112306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rder Cero Bins &amp; signage from Group O for collection bins for sampling using the request form (see slide 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D54D36B-0D52-88C0-9145-13D4E2A06F8B}"/>
              </a:ext>
            </a:extLst>
          </p:cNvPr>
          <p:cNvSpPr/>
          <p:nvPr/>
        </p:nvSpPr>
        <p:spPr>
          <a:xfrm>
            <a:off x="7366396" y="3993909"/>
            <a:ext cx="2090741" cy="112306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Calibri"/>
              </a:rPr>
              <a:t>Ensure venue or outside service will sort items into the proper Back of House recycling, compost, and waste bins for collec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E841DB6-5FBE-BE77-72E0-9870493FD752}"/>
              </a:ext>
            </a:extLst>
          </p:cNvPr>
          <p:cNvSpPr/>
          <p:nvPr/>
        </p:nvSpPr>
        <p:spPr>
          <a:xfrm>
            <a:off x="304801" y="3993909"/>
            <a:ext cx="2090741" cy="112306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Where possible include recycling &amp; composting capacity into venue decision making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1D43223-91B4-771A-DE9E-67FD4D67AED0}"/>
              </a:ext>
            </a:extLst>
          </p:cNvPr>
          <p:cNvSpPr/>
          <p:nvPr/>
        </p:nvSpPr>
        <p:spPr>
          <a:xfrm>
            <a:off x="9720258" y="3993909"/>
            <a:ext cx="2090741" cy="112306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llect data from vendors on weight of items collected &amp; data from internal team on # of items used</a:t>
            </a:r>
          </a:p>
        </p:txBody>
      </p:sp>
    </p:spTree>
    <p:extLst>
      <p:ext uri="{BB962C8B-B14F-4D97-AF65-F5344CB8AC3E}">
        <p14:creationId xmlns:p14="http://schemas.microsoft.com/office/powerpoint/2010/main" val="1939026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raphic 39">
            <a:extLst>
              <a:ext uri="{FF2B5EF4-FFF2-40B4-BE49-F238E27FC236}">
                <a16:creationId xmlns:a16="http://schemas.microsoft.com/office/drawing/2014/main" id="{D28AD9FA-E3E2-D222-AA55-2593852F7D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18824"/>
          <a:stretch>
            <a:fillRect/>
          </a:stretch>
        </p:blipFill>
        <p:spPr>
          <a:xfrm flipH="1">
            <a:off x="-1" y="4942524"/>
            <a:ext cx="937257" cy="1672678"/>
          </a:xfrm>
          <a:custGeom>
            <a:avLst/>
            <a:gdLst>
              <a:gd name="connsiteX0" fmla="*/ 876299 w 876299"/>
              <a:gd name="connsiteY0" fmla="*/ 0 h 1563889"/>
              <a:gd name="connsiteX1" fmla="*/ 0 w 876299"/>
              <a:gd name="connsiteY1" fmla="*/ 0 h 1563889"/>
              <a:gd name="connsiteX2" fmla="*/ 0 w 876299"/>
              <a:gd name="connsiteY2" fmla="*/ 1563889 h 1563889"/>
              <a:gd name="connsiteX3" fmla="*/ 876299 w 876299"/>
              <a:gd name="connsiteY3" fmla="*/ 1563889 h 1563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6299" h="1563889">
                <a:moveTo>
                  <a:pt x="876299" y="0"/>
                </a:moveTo>
                <a:lnTo>
                  <a:pt x="0" y="0"/>
                </a:lnTo>
                <a:lnTo>
                  <a:pt x="0" y="1563889"/>
                </a:lnTo>
                <a:lnTo>
                  <a:pt x="876299" y="1563889"/>
                </a:lnTo>
                <a:close/>
              </a:path>
            </a:pathLst>
          </a:custGeom>
        </p:spPr>
      </p:pic>
      <p:sp>
        <p:nvSpPr>
          <p:cNvPr id="74" name="Rectangle: Single Corner Rounded 73">
            <a:extLst>
              <a:ext uri="{FF2B5EF4-FFF2-40B4-BE49-F238E27FC236}">
                <a16:creationId xmlns:a16="http://schemas.microsoft.com/office/drawing/2014/main" id="{E56A1687-8B7C-C649-5859-13127EB23868}"/>
              </a:ext>
            </a:extLst>
          </p:cNvPr>
          <p:cNvSpPr>
            <a:spLocks/>
          </p:cNvSpPr>
          <p:nvPr/>
        </p:nvSpPr>
        <p:spPr>
          <a:xfrm flipH="1" flipV="1">
            <a:off x="3556000" y="0"/>
            <a:ext cx="8636000" cy="6324600"/>
          </a:xfrm>
          <a:prstGeom prst="round1Rect">
            <a:avLst>
              <a:gd name="adj" fmla="val 2510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26328613-D20E-C53A-CC69-D1DBC8CB1C8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328613-D20E-C53A-CC69-D1DBC8CB1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8">
            <a:extLst>
              <a:ext uri="{FF2B5EF4-FFF2-40B4-BE49-F238E27FC236}">
                <a16:creationId xmlns:a16="http://schemas.microsoft.com/office/drawing/2014/main" id="{71AFC5F9-342F-C2A3-4012-508638676FED}"/>
              </a:ext>
            </a:extLst>
          </p:cNvPr>
          <p:cNvSpPr txBox="1">
            <a:spLocks/>
          </p:cNvSpPr>
          <p:nvPr/>
        </p:nvSpPr>
        <p:spPr>
          <a:xfrm>
            <a:off x="304800" y="1219200"/>
            <a:ext cx="3126589" cy="4914900"/>
          </a:xfrm>
          <a:prstGeom prst="rect">
            <a:avLst/>
          </a:prstGeom>
        </p:spPr>
        <p:txBody>
          <a:bodyPr vert="horz"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33CC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PEPSICO – 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EVENT SCOUTING VENUE QUESTION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2B09BD-67BD-C9DF-ACD3-BBC45F976952}"/>
              </a:ext>
            </a:extLst>
          </p:cNvPr>
          <p:cNvSpPr>
            <a:spLocks/>
          </p:cNvSpPr>
          <p:nvPr/>
        </p:nvSpPr>
        <p:spPr>
          <a:xfrm>
            <a:off x="9664700" y="752"/>
            <a:ext cx="2527300" cy="1795132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182880" bIns="45720" rtlCol="0" anchor="ctr"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Ensure Bottles, Cans, cardboard, paper, cups and wood can be recycled following the event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BFDE7D"/>
              </a:solidFill>
              <a:effectLst/>
              <a:uLnTx/>
              <a:uFillTx/>
              <a:latin typeface="Gilroy Medium"/>
              <a:ea typeface="Calibri"/>
              <a:cs typeface="Calibri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2A926C4-7FEF-3E2F-4B8A-0E20E7706C8E}"/>
              </a:ext>
            </a:extLst>
          </p:cNvPr>
          <p:cNvGrpSpPr/>
          <p:nvPr/>
        </p:nvGrpSpPr>
        <p:grpSpPr>
          <a:xfrm>
            <a:off x="3816351" y="153152"/>
            <a:ext cx="5632449" cy="1408785"/>
            <a:chOff x="3816351" y="153152"/>
            <a:chExt cx="5632449" cy="140878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922193F-E60D-9A12-14BC-74EBEABC332D}"/>
                </a:ext>
              </a:extLst>
            </p:cNvPr>
            <p:cNvSpPr>
              <a:spLocks/>
            </p:cNvSpPr>
            <p:nvPr/>
          </p:nvSpPr>
          <p:spPr>
            <a:xfrm>
              <a:off x="3816351" y="153152"/>
              <a:ext cx="2575447" cy="4835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1" i="0" u="none" strike="noStrike" kern="1200" cap="none" spc="0" normalizeH="0" baseline="0" noProof="0" dirty="0">
                  <a:ln>
                    <a:noFill/>
                  </a:ln>
                  <a:solidFill>
                    <a:srgbClr val="BFDE7E"/>
                  </a:solidFill>
                  <a:effectLst/>
                  <a:uLnTx/>
                  <a:uFillTx/>
                  <a:latin typeface="GT Pressura LCG Black"/>
                  <a:ea typeface="+mn-ea"/>
                  <a:cs typeface="+mn-cs"/>
                </a:rPr>
                <a:t>RECYCLING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F079682-615E-6772-7AF7-DC557BAC5021}"/>
                </a:ext>
              </a:extLst>
            </p:cNvPr>
            <p:cNvSpPr txBox="1"/>
            <p:nvPr/>
          </p:nvSpPr>
          <p:spPr>
            <a:xfrm>
              <a:off x="3816351" y="669385"/>
              <a:ext cx="5632449" cy="89255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Does the venue offer recycling?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What items can be recycled?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Do they sort or comingle recyclables?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Are there additional costs for recycling? If so, what are these costs?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FB47035-A46E-1CB4-E3E6-00B811DB99B8}"/>
              </a:ext>
            </a:extLst>
          </p:cNvPr>
          <p:cNvGrpSpPr/>
          <p:nvPr/>
        </p:nvGrpSpPr>
        <p:grpSpPr>
          <a:xfrm>
            <a:off x="3816351" y="1894931"/>
            <a:ext cx="5632449" cy="936861"/>
            <a:chOff x="3816351" y="1925709"/>
            <a:chExt cx="5632449" cy="93686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A2D14A3-1AE3-999E-5BEA-E526847B03BC}"/>
                </a:ext>
              </a:extLst>
            </p:cNvPr>
            <p:cNvSpPr>
              <a:spLocks/>
            </p:cNvSpPr>
            <p:nvPr/>
          </p:nvSpPr>
          <p:spPr>
            <a:xfrm>
              <a:off x="3816351" y="1925709"/>
              <a:ext cx="2575447" cy="4835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1" i="0" u="none" strike="noStrike" kern="1200" cap="none" spc="0" normalizeH="0" baseline="0" noProof="0" dirty="0">
                  <a:ln>
                    <a:noFill/>
                  </a:ln>
                  <a:solidFill>
                    <a:srgbClr val="BFDE7E"/>
                  </a:solidFill>
                  <a:effectLst/>
                  <a:uLnTx/>
                  <a:uFillTx/>
                  <a:latin typeface="GT Pressura LCG Black"/>
                  <a:ea typeface="+mn-ea"/>
                  <a:cs typeface="+mn-cs"/>
                </a:rPr>
                <a:t>REUS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105A61F-B1A9-F0AC-18EA-4AFB4AF9B80D}"/>
                </a:ext>
              </a:extLst>
            </p:cNvPr>
            <p:cNvSpPr txBox="1"/>
            <p:nvPr/>
          </p:nvSpPr>
          <p:spPr>
            <a:xfrm>
              <a:off x="3816351" y="2441942"/>
              <a:ext cx="5632449" cy="42062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Does the venue offer reusable dishware and cups for meals and breaks?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Is there an added cost for reusables?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6C85DBB-6006-C35A-1217-04D7E2675287}"/>
              </a:ext>
            </a:extLst>
          </p:cNvPr>
          <p:cNvGrpSpPr/>
          <p:nvPr/>
        </p:nvGrpSpPr>
        <p:grpSpPr>
          <a:xfrm>
            <a:off x="3816351" y="3164786"/>
            <a:ext cx="5632449" cy="1172823"/>
            <a:chOff x="3816351" y="3164786"/>
            <a:chExt cx="5632449" cy="117282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03C41D2-B03A-9B05-90F5-A4DC5AD45BA1}"/>
                </a:ext>
              </a:extLst>
            </p:cNvPr>
            <p:cNvSpPr>
              <a:spLocks/>
            </p:cNvSpPr>
            <p:nvPr/>
          </p:nvSpPr>
          <p:spPr>
            <a:xfrm>
              <a:off x="3816351" y="3164786"/>
              <a:ext cx="2575447" cy="4835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1" i="0" u="none" strike="noStrike" kern="1200" cap="none" spc="0" normalizeH="0" baseline="0" noProof="0" dirty="0">
                  <a:ln>
                    <a:noFill/>
                  </a:ln>
                  <a:solidFill>
                    <a:srgbClr val="BFDE7E"/>
                  </a:solidFill>
                  <a:effectLst/>
                  <a:uLnTx/>
                  <a:uFillTx/>
                  <a:latin typeface="GT Pressura LCG Black"/>
                  <a:ea typeface="+mn-ea"/>
                  <a:cs typeface="+mn-cs"/>
                </a:rPr>
                <a:t>COMPOSTING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32E441B-DDE6-29D7-09C9-26C993316E31}"/>
                </a:ext>
              </a:extLst>
            </p:cNvPr>
            <p:cNvSpPr txBox="1"/>
            <p:nvPr/>
          </p:nvSpPr>
          <p:spPr>
            <a:xfrm>
              <a:off x="3816351" y="3681019"/>
              <a:ext cx="5632449" cy="65659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Does the venue offer composting for food waste?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Does the venue offer composting for clear, PLA plastic cups? Paper trays?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Is there an additional cost for composting? 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53379FA-A032-F62C-5D86-48C919885B76}"/>
              </a:ext>
            </a:extLst>
          </p:cNvPr>
          <p:cNvGrpSpPr/>
          <p:nvPr/>
        </p:nvGrpSpPr>
        <p:grpSpPr>
          <a:xfrm>
            <a:off x="3816351" y="4670602"/>
            <a:ext cx="5632449" cy="1306193"/>
            <a:chOff x="3816351" y="4670602"/>
            <a:chExt cx="5632449" cy="130619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11DC8A9-10E2-4374-31D8-9214F074BE32}"/>
                </a:ext>
              </a:extLst>
            </p:cNvPr>
            <p:cNvSpPr>
              <a:spLocks/>
            </p:cNvSpPr>
            <p:nvPr/>
          </p:nvSpPr>
          <p:spPr>
            <a:xfrm>
              <a:off x="3816351" y="4670602"/>
              <a:ext cx="2575447" cy="4835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1" i="0" u="none" strike="noStrike" kern="1200" cap="none" spc="0" normalizeH="0" baseline="0" noProof="0" dirty="0">
                  <a:ln>
                    <a:noFill/>
                  </a:ln>
                  <a:solidFill>
                    <a:srgbClr val="BFDE7E"/>
                  </a:solidFill>
                  <a:effectLst/>
                  <a:uLnTx/>
                  <a:uFillTx/>
                  <a:latin typeface="GT Pressura LCG Black"/>
                  <a:ea typeface="+mn-ea"/>
                  <a:cs typeface="+mn-cs"/>
                </a:rPr>
                <a:t>SORTATION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F8952F5-5638-578D-3C3E-C3EBE5D89DF8}"/>
                </a:ext>
              </a:extLst>
            </p:cNvPr>
            <p:cNvSpPr txBox="1"/>
            <p:nvPr/>
          </p:nvSpPr>
          <p:spPr>
            <a:xfrm>
              <a:off x="3816351" y="5186835"/>
              <a:ext cx="5632449" cy="789960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Does the venue have sortation services for trash and recycling to ensure they are handled properly?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Alternatively, are there outside services the venue work with to provide sortation?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57E908FC-60AB-52F2-737A-563CDD27025F}"/>
              </a:ext>
            </a:extLst>
          </p:cNvPr>
          <p:cNvSpPr>
            <a:spLocks/>
          </p:cNvSpPr>
          <p:nvPr/>
        </p:nvSpPr>
        <p:spPr>
          <a:xfrm>
            <a:off x="9664700" y="1742531"/>
            <a:ext cx="2527300" cy="1254361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182880" bIns="45720" rtlCol="0" anchor="ctr"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duce environmental impact by serving meals sustainably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BFDE7D"/>
              </a:solidFill>
              <a:effectLst/>
              <a:uLnTx/>
              <a:uFillTx/>
              <a:latin typeface="Gilroy Medium"/>
              <a:ea typeface="Calibri"/>
              <a:cs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5642EB-28AE-602C-41B2-EE239C15AD76}"/>
              </a:ext>
            </a:extLst>
          </p:cNvPr>
          <p:cNvSpPr>
            <a:spLocks/>
          </p:cNvSpPr>
          <p:nvPr/>
        </p:nvSpPr>
        <p:spPr>
          <a:xfrm>
            <a:off x="9664700" y="2990328"/>
            <a:ext cx="2527300" cy="1501017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182880" bIns="45720" rtlCol="0" anchor="ctr"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Ensure sampling cups can be composted following the event.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BFDE7D"/>
              </a:solidFill>
              <a:effectLst/>
              <a:uLnTx/>
              <a:uFillTx/>
              <a:latin typeface="Gilroy Medium"/>
              <a:ea typeface="Calibri"/>
              <a:cs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16754D4-604E-5D19-5406-B12F19A47B67}"/>
              </a:ext>
            </a:extLst>
          </p:cNvPr>
          <p:cNvSpPr>
            <a:spLocks/>
          </p:cNvSpPr>
          <p:nvPr/>
        </p:nvSpPr>
        <p:spPr>
          <a:xfrm>
            <a:off x="9664700" y="4486117"/>
            <a:ext cx="2527300" cy="1843604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182880" bIns="45720" rtlCol="0" anchor="ctr"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Ensure recyclables and compostables are sorted correctly and don’t end up in waste stream.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BFDE7D"/>
              </a:solidFill>
              <a:effectLst/>
              <a:uLnTx/>
              <a:uFillTx/>
              <a:latin typeface="Gilroy Medium"/>
              <a:ea typeface="Calibri"/>
              <a:cs typeface="Calibri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ED5EC2C-446A-345C-979D-A30BB10E1F62}"/>
              </a:ext>
            </a:extLst>
          </p:cNvPr>
          <p:cNvCxnSpPr/>
          <p:nvPr/>
        </p:nvCxnSpPr>
        <p:spPr>
          <a:xfrm>
            <a:off x="3816351" y="1776560"/>
            <a:ext cx="8383001" cy="16042"/>
          </a:xfrm>
          <a:prstGeom prst="line">
            <a:avLst/>
          </a:prstGeom>
          <a:ln>
            <a:solidFill>
              <a:schemeClr val="bg1">
                <a:alpha val="5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4D7A4EE-343F-7BFD-2148-35D500592FB4}"/>
              </a:ext>
            </a:extLst>
          </p:cNvPr>
          <p:cNvCxnSpPr/>
          <p:nvPr/>
        </p:nvCxnSpPr>
        <p:spPr>
          <a:xfrm>
            <a:off x="3816351" y="3046415"/>
            <a:ext cx="8366959" cy="16042"/>
          </a:xfrm>
          <a:prstGeom prst="line">
            <a:avLst/>
          </a:prstGeom>
          <a:ln>
            <a:solidFill>
              <a:schemeClr val="bg1">
                <a:alpha val="5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AF2FA3A-2A0C-B0A9-FCC8-BC35AA914C64}"/>
              </a:ext>
            </a:extLst>
          </p:cNvPr>
          <p:cNvCxnSpPr/>
          <p:nvPr/>
        </p:nvCxnSpPr>
        <p:spPr>
          <a:xfrm>
            <a:off x="3816351" y="4480043"/>
            <a:ext cx="8374980" cy="0"/>
          </a:xfrm>
          <a:prstGeom prst="line">
            <a:avLst/>
          </a:prstGeom>
          <a:ln>
            <a:solidFill>
              <a:schemeClr val="bg1">
                <a:alpha val="5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074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EB49E96-7305-3E5C-532C-B157177D29B5}"/>
              </a:ext>
            </a:extLst>
          </p:cNvPr>
          <p:cNvSpPr>
            <a:spLocks/>
          </p:cNvSpPr>
          <p:nvPr/>
        </p:nvSpPr>
        <p:spPr>
          <a:xfrm>
            <a:off x="8788400" y="0"/>
            <a:ext cx="3432916" cy="6858000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: Single Corner Rounded 24">
            <a:extLst>
              <a:ext uri="{FF2B5EF4-FFF2-40B4-BE49-F238E27FC236}">
                <a16:creationId xmlns:a16="http://schemas.microsoft.com/office/drawing/2014/main" id="{C8C4F7D5-0CF3-EE4B-31B4-A030255FCC5E}"/>
              </a:ext>
            </a:extLst>
          </p:cNvPr>
          <p:cNvSpPr/>
          <p:nvPr/>
        </p:nvSpPr>
        <p:spPr>
          <a:xfrm>
            <a:off x="0" y="1088571"/>
            <a:ext cx="8788400" cy="5769429"/>
          </a:xfrm>
          <a:prstGeom prst="round1Rect">
            <a:avLst>
              <a:gd name="adj" fmla="val 2961"/>
            </a:avLst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: Single Corner Rounded 51">
            <a:extLst>
              <a:ext uri="{FF2B5EF4-FFF2-40B4-BE49-F238E27FC236}">
                <a16:creationId xmlns:a16="http://schemas.microsoft.com/office/drawing/2014/main" id="{37F8C4AC-427C-A46C-2F4F-3D4FAD80A47D}"/>
              </a:ext>
            </a:extLst>
          </p:cNvPr>
          <p:cNvSpPr/>
          <p:nvPr/>
        </p:nvSpPr>
        <p:spPr>
          <a:xfrm>
            <a:off x="-16791" y="3488175"/>
            <a:ext cx="8458200" cy="2564493"/>
          </a:xfrm>
          <a:prstGeom prst="round1Rect">
            <a:avLst>
              <a:gd name="adj" fmla="val 7398"/>
            </a:avLst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68DA3A1C-469C-520F-472B-242265DB5670}"/>
              </a:ext>
            </a:extLst>
          </p:cNvPr>
          <p:cNvSpPr/>
          <p:nvPr/>
        </p:nvSpPr>
        <p:spPr>
          <a:xfrm>
            <a:off x="304800" y="2112871"/>
            <a:ext cx="2406440" cy="1713922"/>
          </a:xfrm>
          <a:prstGeom prst="round2SameRect">
            <a:avLst>
              <a:gd name="adj1" fmla="val 0"/>
              <a:gd name="adj2" fmla="val 5557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2CAAF184-3A29-FF70-1901-BD041144D97F}"/>
              </a:ext>
            </a:extLst>
          </p:cNvPr>
          <p:cNvSpPr/>
          <p:nvPr/>
        </p:nvSpPr>
        <p:spPr>
          <a:xfrm>
            <a:off x="3009090" y="2112871"/>
            <a:ext cx="2406440" cy="1713922"/>
          </a:xfrm>
          <a:prstGeom prst="round2SameRect">
            <a:avLst>
              <a:gd name="adj1" fmla="val 0"/>
              <a:gd name="adj2" fmla="val 5557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F4FC3F41-FA9E-238E-BA23-BC260E593BF4}"/>
              </a:ext>
            </a:extLst>
          </p:cNvPr>
          <p:cNvSpPr/>
          <p:nvPr/>
        </p:nvSpPr>
        <p:spPr>
          <a:xfrm>
            <a:off x="5713378" y="2112871"/>
            <a:ext cx="2406440" cy="1713922"/>
          </a:xfrm>
          <a:prstGeom prst="round2SameRect">
            <a:avLst>
              <a:gd name="adj1" fmla="val 0"/>
              <a:gd name="adj2" fmla="val 5557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7C52AEE7-8F4B-95B8-9291-1A545EB1587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52AEE7-8F4B-95B8-9291-1A545EB15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FF834B-9938-44CF-8380-D9F62CE79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7650"/>
            <a:ext cx="11585575" cy="968375"/>
          </a:xfrm>
        </p:spPr>
        <p:txBody>
          <a:bodyPr vert="horz"/>
          <a:lstStyle/>
          <a:p>
            <a:r>
              <a:rPr lang="en-US" dirty="0"/>
              <a:t>SAMPLING CUP OPTIONS FOR EVENT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A5675D-FD6A-48DA-8855-AC88061A5552}"/>
              </a:ext>
            </a:extLst>
          </p:cNvPr>
          <p:cNvSpPr/>
          <p:nvPr/>
        </p:nvSpPr>
        <p:spPr>
          <a:xfrm>
            <a:off x="304800" y="1285587"/>
            <a:ext cx="2406440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RECYCLABLE PET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UP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465202-3E50-4217-8C4F-876035393543}"/>
              </a:ext>
            </a:extLst>
          </p:cNvPr>
          <p:cNvSpPr/>
          <p:nvPr/>
        </p:nvSpPr>
        <p:spPr>
          <a:xfrm>
            <a:off x="5713378" y="1285587"/>
            <a:ext cx="2406440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REUSABLE PP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U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DA31D9-15A0-4BF4-BE82-B640A95528AD}"/>
              </a:ext>
            </a:extLst>
          </p:cNvPr>
          <p:cNvSpPr/>
          <p:nvPr/>
        </p:nvSpPr>
        <p:spPr>
          <a:xfrm>
            <a:off x="3009089" y="1285587"/>
            <a:ext cx="2406440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OMPOSTABL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U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30A2F3-EC8A-41EC-8C54-69419F6C7FD5}"/>
              </a:ext>
            </a:extLst>
          </p:cNvPr>
          <p:cNvSpPr txBox="1">
            <a:spLocks/>
          </p:cNvSpPr>
          <p:nvPr/>
        </p:nvSpPr>
        <p:spPr>
          <a:xfrm>
            <a:off x="304800" y="3959425"/>
            <a:ext cx="2339340" cy="11993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4300" marR="0" lvl="0" indent="-1143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lank 3 oz PET plastic cups recyclable cup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114300" marR="0" lvl="0" indent="-1143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-printed 3 oz PET plastic cups recyclabl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*Pricing included in the links abov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5AC2427-876F-3E88-5052-143E558C59F7}"/>
              </a:ext>
            </a:extLst>
          </p:cNvPr>
          <p:cNvGrpSpPr/>
          <p:nvPr/>
        </p:nvGrpSpPr>
        <p:grpSpPr>
          <a:xfrm>
            <a:off x="358140" y="2113261"/>
            <a:ext cx="2378055" cy="1616075"/>
            <a:chOff x="358140" y="2113261"/>
            <a:chExt cx="2378055" cy="1616075"/>
          </a:xfrm>
        </p:grpSpPr>
        <p:pic>
          <p:nvPicPr>
            <p:cNvPr id="5" name="Picture 4" descr="A clear plastic cup with a blue logo&#10;&#10;Description automatically generated">
              <a:extLst>
                <a:ext uri="{FF2B5EF4-FFF2-40B4-BE49-F238E27FC236}">
                  <a16:creationId xmlns:a16="http://schemas.microsoft.com/office/drawing/2014/main" id="{255768F0-197F-DBD1-B1D2-F6427B5544F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3197" y="2583180"/>
              <a:ext cx="1262998" cy="1146156"/>
            </a:xfrm>
            <a:prstGeom prst="rect">
              <a:avLst/>
            </a:prstGeom>
          </p:spPr>
        </p:pic>
        <p:pic>
          <p:nvPicPr>
            <p:cNvPr id="16" name="Picture 15" descr="A white plastic cup on a black background&#10;&#10;AI-generated content may be incorrect.">
              <a:extLst>
                <a:ext uri="{FF2B5EF4-FFF2-40B4-BE49-F238E27FC236}">
                  <a16:creationId xmlns:a16="http://schemas.microsoft.com/office/drawing/2014/main" id="{4A12FD27-9E2D-265C-1FF0-14DE7E9D1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04" r="8607"/>
            <a:stretch>
              <a:fillRect/>
            </a:stretch>
          </p:blipFill>
          <p:spPr>
            <a:xfrm>
              <a:off x="358140" y="2113261"/>
              <a:ext cx="1211581" cy="1398664"/>
            </a:xfrm>
            <a:prstGeom prst="rect">
              <a:avLst/>
            </a:prstGeom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E71AD1ED-B11B-844C-7E9A-2BDF12E41259}"/>
              </a:ext>
            </a:extLst>
          </p:cNvPr>
          <p:cNvSpPr txBox="1">
            <a:spLocks/>
          </p:cNvSpPr>
          <p:nvPr/>
        </p:nvSpPr>
        <p:spPr>
          <a:xfrm>
            <a:off x="5713378" y="3959425"/>
            <a:ext cx="2295705" cy="11993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4300" marR="0" lvl="0" indent="-1143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old Reus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 provides custom-printed reusable Polypropylene plastic cups for use at tradeshows and events</a:t>
            </a:r>
          </a:p>
          <a:p>
            <a:pPr marL="114300" marR="0" lvl="0" indent="-1143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Fees for: Production, washing &amp; storage </a:t>
            </a:r>
          </a:p>
        </p:txBody>
      </p:sp>
      <p:pic>
        <p:nvPicPr>
          <p:cNvPr id="24" name="Picture 23" descr="A plastic cup with a logo on it&#10;&#10;Description automatically generated">
            <a:extLst>
              <a:ext uri="{FF2B5EF4-FFF2-40B4-BE49-F238E27FC236}">
                <a16:creationId xmlns:a16="http://schemas.microsoft.com/office/drawing/2014/main" id="{EC8B33EF-0B5D-7650-5637-E1B44F460B5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3040" y="2127059"/>
            <a:ext cx="1646600" cy="1762508"/>
          </a:xfrm>
          <a:prstGeom prst="rect">
            <a:avLst/>
          </a:prstGeom>
        </p:spPr>
      </p:pic>
      <p:pic>
        <p:nvPicPr>
          <p:cNvPr id="27" name="Picture 26" descr="A plastic cup with green text&#10;&#10;Description automatically generated">
            <a:extLst>
              <a:ext uri="{FF2B5EF4-FFF2-40B4-BE49-F238E27FC236}">
                <a16:creationId xmlns:a16="http://schemas.microsoft.com/office/drawing/2014/main" id="{BCC53C58-8AB8-E307-F7EB-D2393501B65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484" y="2268808"/>
            <a:ext cx="1332228" cy="144904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527A937-E933-852B-ED36-0AAB9B2F1864}"/>
              </a:ext>
            </a:extLst>
          </p:cNvPr>
          <p:cNvSpPr txBox="1">
            <a:spLocks/>
          </p:cNvSpPr>
          <p:nvPr/>
        </p:nvSpPr>
        <p:spPr>
          <a:xfrm>
            <a:off x="3009089" y="3959425"/>
            <a:ext cx="2374089" cy="11993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4300" marR="0" lvl="0" indent="-1143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3 oz compostable PLA plastic cup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114300" marR="0" lvl="0" indent="-1143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 oz compostable PLA plastic cup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*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ricing included in the links abov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294A64-CA8E-61D6-218D-8D3929BCA1CC}"/>
              </a:ext>
            </a:extLst>
          </p:cNvPr>
          <p:cNvSpPr txBox="1"/>
          <p:nvPr/>
        </p:nvSpPr>
        <p:spPr>
          <a:xfrm>
            <a:off x="304800" y="5323826"/>
            <a:ext cx="5182729" cy="810273"/>
          </a:xfrm>
          <a:prstGeom prst="round2SameRect">
            <a:avLst>
              <a:gd name="adj1" fmla="val 15100"/>
              <a:gd name="adj2" fmla="val 0"/>
            </a:avLst>
          </a:prstGeom>
          <a:solidFill>
            <a:schemeClr val="accent4"/>
          </a:solidFill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Make sure you have a plan to recycle or compost these cups! Please check local guidelines to ensure these cups will be recycled or composted properly. 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8D232B0-8E34-52C9-C7DC-3DFE37A65DB6}"/>
              </a:ext>
            </a:extLst>
          </p:cNvPr>
          <p:cNvCxnSpPr>
            <a:cxnSpLocks/>
          </p:cNvCxnSpPr>
          <p:nvPr/>
        </p:nvCxnSpPr>
        <p:spPr>
          <a:xfrm>
            <a:off x="0" y="2112871"/>
            <a:ext cx="86741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81027038-8C40-6C7A-7896-11EB79E5AFC5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NFIDENTIAL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4B80218-93D7-3C0E-D396-0557665370AF}"/>
              </a:ext>
            </a:extLst>
          </p:cNvPr>
          <p:cNvCxnSpPr/>
          <p:nvPr/>
        </p:nvCxnSpPr>
        <p:spPr>
          <a:xfrm>
            <a:off x="2860165" y="3569607"/>
            <a:ext cx="0" cy="175421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E3207B2-423F-0286-E809-7387A499C054}"/>
              </a:ext>
            </a:extLst>
          </p:cNvPr>
          <p:cNvCxnSpPr>
            <a:cxnSpLocks/>
          </p:cNvCxnSpPr>
          <p:nvPr/>
        </p:nvCxnSpPr>
        <p:spPr>
          <a:xfrm>
            <a:off x="5564454" y="3569607"/>
            <a:ext cx="0" cy="256449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plastic container with a label&#10;&#10;AI-generated content may be incorrect.">
            <a:extLst>
              <a:ext uri="{FF2B5EF4-FFF2-40B4-BE49-F238E27FC236}">
                <a16:creationId xmlns:a16="http://schemas.microsoft.com/office/drawing/2014/main" id="{B223CD90-D9E5-EA4A-472C-F447877BE89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17" r="2917" b="5417"/>
          <a:stretch>
            <a:fillRect/>
          </a:stretch>
        </p:blipFill>
        <p:spPr>
          <a:xfrm>
            <a:off x="8301804" y="1144880"/>
            <a:ext cx="3739140" cy="428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336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56993FF6-F17F-E0C0-7A6F-4AF2FF37AC77}"/>
              </a:ext>
            </a:extLst>
          </p:cNvPr>
          <p:cNvSpPr>
            <a:spLocks/>
          </p:cNvSpPr>
          <p:nvPr/>
        </p:nvSpPr>
        <p:spPr>
          <a:xfrm>
            <a:off x="4827208" y="1859742"/>
            <a:ext cx="7364793" cy="4426758"/>
          </a:xfrm>
          <a:custGeom>
            <a:avLst/>
            <a:gdLst>
              <a:gd name="connsiteX0" fmla="*/ 139576 w 7364793"/>
              <a:gd name="connsiteY0" fmla="*/ 0 h 4426758"/>
              <a:gd name="connsiteX1" fmla="*/ 7364793 w 7364793"/>
              <a:gd name="connsiteY1" fmla="*/ 0 h 4426758"/>
              <a:gd name="connsiteX2" fmla="*/ 7364793 w 7364793"/>
              <a:gd name="connsiteY2" fmla="*/ 4426758 h 4426758"/>
              <a:gd name="connsiteX3" fmla="*/ 139576 w 7364793"/>
              <a:gd name="connsiteY3" fmla="*/ 4426758 h 4426758"/>
              <a:gd name="connsiteX4" fmla="*/ 0 w 7364793"/>
              <a:gd name="connsiteY4" fmla="*/ 4287182 h 4426758"/>
              <a:gd name="connsiteX5" fmla="*/ 0 w 7364793"/>
              <a:gd name="connsiteY5" fmla="*/ 139576 h 4426758"/>
              <a:gd name="connsiteX6" fmla="*/ 139576 w 7364793"/>
              <a:gd name="connsiteY6" fmla="*/ 0 h 4426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64793" h="4426758">
                <a:moveTo>
                  <a:pt x="139576" y="0"/>
                </a:moveTo>
                <a:lnTo>
                  <a:pt x="7364793" y="0"/>
                </a:lnTo>
                <a:lnTo>
                  <a:pt x="7364793" y="4426758"/>
                </a:lnTo>
                <a:lnTo>
                  <a:pt x="139576" y="4426758"/>
                </a:lnTo>
                <a:cubicBezTo>
                  <a:pt x="62489" y="4426758"/>
                  <a:pt x="0" y="4364268"/>
                  <a:pt x="0" y="4287182"/>
                </a:cubicBezTo>
                <a:lnTo>
                  <a:pt x="0" y="139576"/>
                </a:lnTo>
                <a:cubicBezTo>
                  <a:pt x="0" y="62490"/>
                  <a:pt x="62489" y="0"/>
                  <a:pt x="1395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AE8C7C-2695-1F5F-7E47-A70173C9AA40}"/>
              </a:ext>
            </a:extLst>
          </p:cNvPr>
          <p:cNvSpPr>
            <a:spLocks/>
          </p:cNvSpPr>
          <p:nvPr/>
        </p:nvSpPr>
        <p:spPr>
          <a:xfrm>
            <a:off x="0" y="-1"/>
            <a:ext cx="4133850" cy="6858000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B8F59FB-0250-C199-50FD-BDC70B11209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8F59FB-0250-C199-50FD-BDC70B112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extBox 51">
            <a:extLst>
              <a:ext uri="{FF2B5EF4-FFF2-40B4-BE49-F238E27FC236}">
                <a16:creationId xmlns:a16="http://schemas.microsoft.com/office/drawing/2014/main" id="{DD66EEE3-8342-B1E7-A85E-AF80FC048EC6}"/>
              </a:ext>
            </a:extLst>
          </p:cNvPr>
          <p:cNvSpPr txBox="1"/>
          <p:nvPr/>
        </p:nvSpPr>
        <p:spPr>
          <a:xfrm>
            <a:off x="5504293" y="2035441"/>
            <a:ext cx="6376697" cy="93102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ONLY USE COMPOSTABLE CUPS &amp; DISHWARE IF YOUR VENUE’S COMPOSTER ACCEPTS THESE ITEMS</a:t>
            </a: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srgbClr val="8DBD29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If the venue does not offer composting for cups and dishware, then plan to hire an outside company and ensure that takes dishware in addition to food waste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107EA066-857D-1876-8E2B-B15A8072FFED}"/>
              </a:ext>
            </a:extLst>
          </p:cNvPr>
          <p:cNvSpPr txBox="1">
            <a:spLocks/>
          </p:cNvSpPr>
          <p:nvPr/>
        </p:nvSpPr>
        <p:spPr>
          <a:xfrm>
            <a:off x="5510503" y="3196405"/>
            <a:ext cx="6376697" cy="6848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GET A LIST OF APPROVED ITEMS FROM YOUR COMPOS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Not all items labeled as compostable are accepted by composting vendors. Ask your composter for a list of dishware, utensils, and cups that they accept.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D24E4B4-A35E-DBA5-7CD8-5A0CFC14C7EF}"/>
              </a:ext>
            </a:extLst>
          </p:cNvPr>
          <p:cNvSpPr txBox="1">
            <a:spLocks/>
          </p:cNvSpPr>
          <p:nvPr/>
        </p:nvSpPr>
        <p:spPr>
          <a:xfrm>
            <a:off x="5510504" y="5225944"/>
            <a:ext cx="6376697" cy="8848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STAY CONSIST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If dishware and utensils are compostable, also use compostable cups to make 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it easier for event attendees to place their items in the correct bin alongside 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food waste. </a:t>
            </a:r>
          </a:p>
        </p:txBody>
      </p:sp>
      <p:sp>
        <p:nvSpPr>
          <p:cNvPr id="55" name="Text Placeholder 1">
            <a:extLst>
              <a:ext uri="{FF2B5EF4-FFF2-40B4-BE49-F238E27FC236}">
                <a16:creationId xmlns:a16="http://schemas.microsoft.com/office/drawing/2014/main" id="{052D0911-E5C3-7981-4E93-62720518C2CF}"/>
              </a:ext>
            </a:extLst>
          </p:cNvPr>
          <p:cNvSpPr txBox="1">
            <a:spLocks/>
          </p:cNvSpPr>
          <p:nvPr/>
        </p:nvSpPr>
        <p:spPr>
          <a:xfrm>
            <a:off x="5510503" y="4111148"/>
            <a:ext cx="6376697" cy="8848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BUY BPI CERTIFIED COMPOSTABLE FOODWA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BPI Certification process ensures that items can be cycled back into the soil safely at a commercial composting facility. Search for the product you are considering purchasing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.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0FA7FD4-31F0-9087-9B74-E88225EFAD2F}"/>
              </a:ext>
            </a:extLst>
          </p:cNvPr>
          <p:cNvSpPr txBox="1">
            <a:spLocks/>
          </p:cNvSpPr>
          <p:nvPr/>
        </p:nvSpPr>
        <p:spPr>
          <a:xfrm>
            <a:off x="4610849" y="478675"/>
            <a:ext cx="5162375" cy="997196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all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BEST PRACTICES FO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all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OMPOSTABLE FOODWARE</a:t>
            </a:r>
          </a:p>
        </p:txBody>
      </p:sp>
      <p:pic>
        <p:nvPicPr>
          <p:cNvPr id="10" name="Picture 9" descr="A bowl of chips and dips&#10;&#10;AI-generated content may be incorrect.">
            <a:extLst>
              <a:ext uri="{FF2B5EF4-FFF2-40B4-BE49-F238E27FC236}">
                <a16:creationId xmlns:a16="http://schemas.microsoft.com/office/drawing/2014/main" id="{064A10D6-B277-BCB1-56FE-0E8B829D21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9" t="19829" r="4676" b="8601"/>
          <a:stretch>
            <a:fillRect/>
          </a:stretch>
        </p:blipFill>
        <p:spPr>
          <a:xfrm>
            <a:off x="148683" y="3324863"/>
            <a:ext cx="3775853" cy="2961637"/>
          </a:xfrm>
          <a:prstGeom prst="roundRect">
            <a:avLst>
              <a:gd name="adj" fmla="val 4570"/>
            </a:avLst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C82BA56-9F9F-B895-76DB-3D01D2AC54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4" b="10584"/>
          <a:stretch/>
        </p:blipFill>
        <p:spPr>
          <a:xfrm>
            <a:off x="148683" y="181613"/>
            <a:ext cx="3775853" cy="2961637"/>
          </a:xfrm>
          <a:prstGeom prst="roundRect">
            <a:avLst>
              <a:gd name="adj" fmla="val 4570"/>
            </a:avLst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9B145AE-ADAE-1F5A-0D0F-B33225AA9B9D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NFIDENTIAL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B108267-E936-A06F-B1B7-AC92861E5F48}"/>
              </a:ext>
            </a:extLst>
          </p:cNvPr>
          <p:cNvGrpSpPr/>
          <p:nvPr/>
        </p:nvGrpSpPr>
        <p:grpSpPr>
          <a:xfrm>
            <a:off x="4605011" y="4256190"/>
            <a:ext cx="600402" cy="594770"/>
            <a:chOff x="4566669" y="4218208"/>
            <a:chExt cx="677086" cy="670734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4312EA7-E867-CDEC-ABCF-21D893C94222}"/>
                </a:ext>
              </a:extLst>
            </p:cNvPr>
            <p:cNvSpPr/>
            <p:nvPr/>
          </p:nvSpPr>
          <p:spPr>
            <a:xfrm>
              <a:off x="4566669" y="4218208"/>
              <a:ext cx="677086" cy="670734"/>
            </a:xfrm>
            <a:prstGeom prst="ellipse">
              <a:avLst/>
            </a:prstGeom>
            <a:solidFill>
              <a:srgbClr val="2B66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61DEA49E-281F-45A4-8C9B-6C1D8B6E34F6}"/>
                </a:ext>
              </a:extLst>
            </p:cNvPr>
            <p:cNvPicPr>
              <a:picLocks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708199" y="4356562"/>
              <a:ext cx="394026" cy="394026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D713FBC-746B-99E6-914E-730E5763182B}"/>
              </a:ext>
            </a:extLst>
          </p:cNvPr>
          <p:cNvGrpSpPr/>
          <p:nvPr/>
        </p:nvGrpSpPr>
        <p:grpSpPr>
          <a:xfrm>
            <a:off x="4605011" y="2203568"/>
            <a:ext cx="600402" cy="594770"/>
            <a:chOff x="4566669" y="2159206"/>
            <a:chExt cx="677086" cy="670734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44FA716-A1D6-0260-2B3E-B7B5AD04F43B}"/>
                </a:ext>
              </a:extLst>
            </p:cNvPr>
            <p:cNvSpPr/>
            <p:nvPr/>
          </p:nvSpPr>
          <p:spPr>
            <a:xfrm>
              <a:off x="4566669" y="2159206"/>
              <a:ext cx="677086" cy="670734"/>
            </a:xfrm>
            <a:prstGeom prst="ellipse">
              <a:avLst/>
            </a:prstGeom>
            <a:solidFill>
              <a:srgbClr val="2B66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2A47E992-73F5-5836-326F-5D275FDF8C78}"/>
                </a:ext>
              </a:extLst>
            </p:cNvPr>
            <p:cNvPicPr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727701" y="2317062"/>
              <a:ext cx="355022" cy="355022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4F7F89A-C4FF-2346-D76E-A3451289532C}"/>
              </a:ext>
            </a:extLst>
          </p:cNvPr>
          <p:cNvGrpSpPr/>
          <p:nvPr/>
        </p:nvGrpSpPr>
        <p:grpSpPr>
          <a:xfrm>
            <a:off x="4605011" y="5370988"/>
            <a:ext cx="600402" cy="594770"/>
            <a:chOff x="4566669" y="5333006"/>
            <a:chExt cx="677086" cy="670734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7A73C33-5FF2-7F6F-D898-57D4FDA39EE3}"/>
                </a:ext>
              </a:extLst>
            </p:cNvPr>
            <p:cNvSpPr/>
            <p:nvPr/>
          </p:nvSpPr>
          <p:spPr>
            <a:xfrm>
              <a:off x="4566669" y="5333006"/>
              <a:ext cx="677086" cy="670734"/>
            </a:xfrm>
            <a:prstGeom prst="ellipse">
              <a:avLst/>
            </a:prstGeom>
            <a:solidFill>
              <a:srgbClr val="2B66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62227CD5-24F3-A0D3-1C29-49DAA433CFC3}"/>
                </a:ext>
              </a:extLst>
            </p:cNvPr>
            <p:cNvPicPr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695499" y="5458660"/>
              <a:ext cx="419426" cy="419426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4978329-FBBA-8D17-A1A6-3F8DED0F8E1C}"/>
              </a:ext>
            </a:extLst>
          </p:cNvPr>
          <p:cNvGrpSpPr/>
          <p:nvPr/>
        </p:nvGrpSpPr>
        <p:grpSpPr>
          <a:xfrm>
            <a:off x="4605011" y="3241420"/>
            <a:ext cx="600402" cy="594770"/>
            <a:chOff x="4566669" y="3204477"/>
            <a:chExt cx="677086" cy="670734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9C4A4E77-C858-0A19-C19E-9BBB005471CA}"/>
                </a:ext>
              </a:extLst>
            </p:cNvPr>
            <p:cNvSpPr/>
            <p:nvPr/>
          </p:nvSpPr>
          <p:spPr>
            <a:xfrm>
              <a:off x="4566669" y="3204477"/>
              <a:ext cx="677086" cy="670734"/>
            </a:xfrm>
            <a:prstGeom prst="ellipse">
              <a:avLst/>
            </a:prstGeom>
            <a:solidFill>
              <a:srgbClr val="2B66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25" name="Graphic 24" descr="Plate with solid fill">
              <a:extLst>
                <a:ext uri="{FF2B5EF4-FFF2-40B4-BE49-F238E27FC236}">
                  <a16:creationId xmlns:a16="http://schemas.microsoft.com/office/drawing/2014/main" id="{DB9BB087-212D-7622-F631-0998DC51A0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637013" y="3271645"/>
              <a:ext cx="536399" cy="536399"/>
            </a:xfrm>
            <a:prstGeom prst="rect">
              <a:avLst/>
            </a:prstGeom>
          </p:spPr>
        </p:pic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9AF2489-78E3-46A9-20B9-771960ECF565}"/>
              </a:ext>
            </a:extLst>
          </p:cNvPr>
          <p:cNvCxnSpPr>
            <a:cxnSpLocks/>
          </p:cNvCxnSpPr>
          <p:nvPr/>
        </p:nvCxnSpPr>
        <p:spPr>
          <a:xfrm flipH="1">
            <a:off x="5504293" y="3996178"/>
            <a:ext cx="668770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EA98ED6-B645-7DCC-A1D4-C5761CE4572D}"/>
              </a:ext>
            </a:extLst>
          </p:cNvPr>
          <p:cNvCxnSpPr>
            <a:cxnSpLocks/>
          </p:cNvCxnSpPr>
          <p:nvPr/>
        </p:nvCxnSpPr>
        <p:spPr>
          <a:xfrm flipH="1">
            <a:off x="5504293" y="3081435"/>
            <a:ext cx="668770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66F2811-1B5C-4B59-4A4D-E3E1572F87C7}"/>
              </a:ext>
            </a:extLst>
          </p:cNvPr>
          <p:cNvCxnSpPr>
            <a:cxnSpLocks/>
          </p:cNvCxnSpPr>
          <p:nvPr/>
        </p:nvCxnSpPr>
        <p:spPr>
          <a:xfrm flipH="1">
            <a:off x="5504293" y="5110976"/>
            <a:ext cx="668770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94875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1DADE3-FE60-6362-7C26-67286156BD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D66B598-C618-76B4-F6C9-82DCA0AE59E8}"/>
              </a:ext>
            </a:extLst>
          </p:cNvPr>
          <p:cNvSpPr>
            <a:spLocks/>
          </p:cNvSpPr>
          <p:nvPr/>
        </p:nvSpPr>
        <p:spPr>
          <a:xfrm>
            <a:off x="8199148" y="0"/>
            <a:ext cx="3996492" cy="6858000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F8481DC-9E3D-336B-7E94-E48828C310E1}"/>
              </a:ext>
            </a:extLst>
          </p:cNvPr>
          <p:cNvSpPr/>
          <p:nvPr/>
        </p:nvSpPr>
        <p:spPr>
          <a:xfrm>
            <a:off x="1769320" y="5501110"/>
            <a:ext cx="6268725" cy="677108"/>
          </a:xfrm>
          <a:prstGeom prst="roundRect">
            <a:avLst>
              <a:gd name="adj" fmla="val 1104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89DCB469-BAE0-575B-D716-284C8497DCB0}"/>
              </a:ext>
            </a:extLst>
          </p:cNvPr>
          <p:cNvSpPr/>
          <p:nvPr/>
        </p:nvSpPr>
        <p:spPr>
          <a:xfrm>
            <a:off x="303213" y="2912789"/>
            <a:ext cx="2469379" cy="1780900"/>
          </a:xfrm>
          <a:prstGeom prst="roundRect">
            <a:avLst>
              <a:gd name="adj" fmla="val 570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64" name="Rectangle: Top Corners Rounded 63">
            <a:extLst>
              <a:ext uri="{FF2B5EF4-FFF2-40B4-BE49-F238E27FC236}">
                <a16:creationId xmlns:a16="http://schemas.microsoft.com/office/drawing/2014/main" id="{235A003C-ED41-17E0-1A0B-9DBF4B282E40}"/>
              </a:ext>
            </a:extLst>
          </p:cNvPr>
          <p:cNvSpPr/>
          <p:nvPr/>
        </p:nvSpPr>
        <p:spPr>
          <a:xfrm>
            <a:off x="303213" y="3345901"/>
            <a:ext cx="2469379" cy="1347787"/>
          </a:xfrm>
          <a:prstGeom prst="round2SameRect">
            <a:avLst>
              <a:gd name="adj1" fmla="val 0"/>
              <a:gd name="adj2" fmla="val 6125"/>
            </a:avLst>
          </a:prstGeom>
          <a:solidFill>
            <a:srgbClr val="BFD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56F747D-2728-98AF-F996-D4B7E9B564EB}"/>
              </a:ext>
            </a:extLst>
          </p:cNvPr>
          <p:cNvGrpSpPr/>
          <p:nvPr/>
        </p:nvGrpSpPr>
        <p:grpSpPr>
          <a:xfrm>
            <a:off x="8081789" y="98754"/>
            <a:ext cx="3916917" cy="6148618"/>
            <a:chOff x="8081789" y="98754"/>
            <a:chExt cx="3916917" cy="6148618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6B9A596D-72E1-F161-1756-235D520F602D}"/>
                </a:ext>
              </a:extLst>
            </p:cNvPr>
            <p:cNvSpPr/>
            <p:nvPr/>
          </p:nvSpPr>
          <p:spPr>
            <a:xfrm>
              <a:off x="8395275" y="495301"/>
              <a:ext cx="3601844" cy="2746879"/>
            </a:xfrm>
            <a:prstGeom prst="roundRect">
              <a:avLst>
                <a:gd name="adj" fmla="val 7330"/>
              </a:avLst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32CCDEF-520D-3251-6D04-A97D97482C46}"/>
                </a:ext>
              </a:extLst>
            </p:cNvPr>
            <p:cNvSpPr/>
            <p:nvPr/>
          </p:nvSpPr>
          <p:spPr>
            <a:xfrm>
              <a:off x="8395275" y="3931920"/>
              <a:ext cx="3601844" cy="2243959"/>
            </a:xfrm>
            <a:prstGeom prst="roundRect">
              <a:avLst>
                <a:gd name="adj" fmla="val 7330"/>
              </a:avLst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32" name="Picture 31" descr="A rack with blue crates&#10;&#10;AI-generated content may be incorrect.">
              <a:extLst>
                <a:ext uri="{FF2B5EF4-FFF2-40B4-BE49-F238E27FC236}">
                  <a16:creationId xmlns:a16="http://schemas.microsoft.com/office/drawing/2014/main" id="{02B65548-C950-62B3-818E-8996C11C2E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16273" b="13345"/>
            <a:stretch>
              <a:fillRect/>
            </a:stretch>
          </p:blipFill>
          <p:spPr>
            <a:xfrm>
              <a:off x="8081789" y="98754"/>
              <a:ext cx="3027030" cy="3193085"/>
            </a:xfrm>
            <a:prstGeom prst="rect">
              <a:avLst/>
            </a:prstGeom>
          </p:spPr>
        </p:pic>
        <p:pic>
          <p:nvPicPr>
            <p:cNvPr id="19" name="Picture 18" descr="A blue and black recycle bin&#10;&#10;AI-generated content may be incorrect.">
              <a:extLst>
                <a:ext uri="{FF2B5EF4-FFF2-40B4-BE49-F238E27FC236}">
                  <a16:creationId xmlns:a16="http://schemas.microsoft.com/office/drawing/2014/main" id="{87DC1B3C-AC2D-2DD3-9B92-ADF1F4211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7543" r="7543"/>
            <a:stretch>
              <a:fillRect/>
            </a:stretch>
          </p:blipFill>
          <p:spPr>
            <a:xfrm>
              <a:off x="9555699" y="3368039"/>
              <a:ext cx="2443007" cy="2879333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F2D8E57-0DE9-6F11-41FF-5D63C04592D2}"/>
                </a:ext>
              </a:extLst>
            </p:cNvPr>
            <p:cNvSpPr txBox="1"/>
            <p:nvPr/>
          </p:nvSpPr>
          <p:spPr>
            <a:xfrm>
              <a:off x="8573980" y="4428990"/>
              <a:ext cx="1099230" cy="15696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Below: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Evergreen signage accompanied with “Bottles &amp; Cans Only” stickers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39907B8-457D-7115-617E-29F42AE14D12}"/>
                </a:ext>
              </a:extLst>
            </p:cNvPr>
            <p:cNvSpPr txBox="1"/>
            <p:nvPr/>
          </p:nvSpPr>
          <p:spPr>
            <a:xfrm>
              <a:off x="10705523" y="1862127"/>
              <a:ext cx="1111393" cy="110799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Above: 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1 crate of 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48 bins, </a:t>
              </a:r>
            </a:p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Ready for debut at Super Bowl LVIII</a:t>
              </a:r>
            </a:p>
          </p:txBody>
        </p:sp>
      </p:grp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90E95D3-86A8-4155-96AD-AE769E49900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0E95D3-86A8-4155-96AD-AE769E499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B00295F2-D947-0BAD-1B7C-591CE0891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251" y="198489"/>
            <a:ext cx="7438807" cy="1017536"/>
          </a:xfrm>
        </p:spPr>
        <p:txBody>
          <a:bodyPr/>
          <a:lstStyle/>
          <a:p>
            <a:pPr lvl="0"/>
            <a:r>
              <a:rPr lang="en-US" sz="3600" dirty="0"/>
              <a:t>TO ORDER CEROBINS </a:t>
            </a:r>
            <a:br>
              <a:rPr lang="en-US" sz="3600" dirty="0"/>
            </a:br>
            <a:r>
              <a:rPr lang="en-US" sz="3600" dirty="0">
                <a:solidFill>
                  <a:srgbClr val="2B660F"/>
                </a:solidFill>
              </a:rPr>
              <a:t>(EVENT RECYCLING BINS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D631472-3ECE-7F2E-740D-96C54FE415EE}"/>
              </a:ext>
            </a:extLst>
          </p:cNvPr>
          <p:cNvSpPr txBox="1"/>
          <p:nvPr/>
        </p:nvSpPr>
        <p:spPr>
          <a:xfrm>
            <a:off x="304800" y="1523405"/>
            <a:ext cx="7701054" cy="127727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ABOU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ero Bins are a sustainable, weather-proof, durable alternative to disposable bins, perfect for special events. These reusable bins can be easily folded and stored away, making them a hassle-free solution. For smaller events that need less than 48 bins, please reach out to your division marketing contact to utilize the division’s allotment of bins.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3575D60-74DD-174E-2777-1A29B0FB8618}"/>
              </a:ext>
            </a:extLst>
          </p:cNvPr>
          <p:cNvSpPr txBox="1"/>
          <p:nvPr/>
        </p:nvSpPr>
        <p:spPr>
          <a:xfrm>
            <a:off x="304800" y="4781928"/>
            <a:ext cx="7701054" cy="63094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TIMELI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lease request Cero Bins at least </a:t>
            </a: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30 DAY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in advance of your event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918C178-6C84-43DA-2421-F2E72DA7AFD1}"/>
              </a:ext>
            </a:extLst>
          </p:cNvPr>
          <p:cNvSpPr txBox="1"/>
          <p:nvPr/>
        </p:nvSpPr>
        <p:spPr>
          <a:xfrm>
            <a:off x="1962614" y="5624221"/>
            <a:ext cx="6043240" cy="4308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ll custom signage (NOT one of the 3 standard designs) must be approved by Pam Madigan (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mela.madigan@pepsico.co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0C0D278-20C4-CDD4-53B0-E6AE374867C5}"/>
              </a:ext>
            </a:extLst>
          </p:cNvPr>
          <p:cNvSpPr txBox="1"/>
          <p:nvPr/>
        </p:nvSpPr>
        <p:spPr>
          <a:xfrm>
            <a:off x="396241" y="2936488"/>
            <a:ext cx="2376352" cy="33855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PRICING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E152F27-EDF7-B461-7678-C66E81B00B6B}"/>
              </a:ext>
            </a:extLst>
          </p:cNvPr>
          <p:cNvSpPr txBox="1"/>
          <p:nvPr/>
        </p:nvSpPr>
        <p:spPr>
          <a:xfrm>
            <a:off x="396241" y="3434725"/>
            <a:ext cx="1035808" cy="1178642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hipping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FREE when you request crates of 24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r 48 bin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CED8575-190C-3330-CEFD-31A1134B9F98}"/>
              </a:ext>
            </a:extLst>
          </p:cNvPr>
          <p:cNvSpPr txBox="1"/>
          <p:nvPr/>
        </p:nvSpPr>
        <p:spPr>
          <a:xfrm>
            <a:off x="1612252" y="3434725"/>
            <a:ext cx="1054486" cy="1178642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ignage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~$12-16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er bin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AE0B3F2-A850-206D-01FB-DA1E64383C94}"/>
              </a:ext>
            </a:extLst>
          </p:cNvPr>
          <p:cNvCxnSpPr>
            <a:stCxn id="64" idx="3"/>
            <a:endCxn id="64" idx="1"/>
          </p:cNvCxnSpPr>
          <p:nvPr/>
        </p:nvCxnSpPr>
        <p:spPr>
          <a:xfrm>
            <a:off x="1537903" y="3345901"/>
            <a:ext cx="0" cy="1347787"/>
          </a:xfrm>
          <a:prstGeom prst="line">
            <a:avLst/>
          </a:prstGeom>
          <a:ln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7922642-1269-9DF3-B248-80A71EA69EEC}"/>
              </a:ext>
            </a:extLst>
          </p:cNvPr>
          <p:cNvGrpSpPr/>
          <p:nvPr/>
        </p:nvGrpSpPr>
        <p:grpSpPr>
          <a:xfrm>
            <a:off x="2920604" y="2912789"/>
            <a:ext cx="5117441" cy="1780900"/>
            <a:chOff x="2922588" y="2747689"/>
            <a:chExt cx="5159201" cy="1780900"/>
          </a:xfrm>
        </p:grpSpPr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CC2461BA-800F-1334-21D0-1F316BBD65CD}"/>
                </a:ext>
              </a:extLst>
            </p:cNvPr>
            <p:cNvSpPr/>
            <p:nvPr/>
          </p:nvSpPr>
          <p:spPr>
            <a:xfrm>
              <a:off x="2922588" y="2747689"/>
              <a:ext cx="5159201" cy="1780900"/>
            </a:xfrm>
            <a:prstGeom prst="roundRect">
              <a:avLst>
                <a:gd name="adj" fmla="val 468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sp>
          <p:nvSpPr>
            <p:cNvPr id="62" name="Rectangle: Top Corners Rounded 61">
              <a:extLst>
                <a:ext uri="{FF2B5EF4-FFF2-40B4-BE49-F238E27FC236}">
                  <a16:creationId xmlns:a16="http://schemas.microsoft.com/office/drawing/2014/main" id="{E9680CEC-9DAC-BD7C-EE15-2D023E0C73E9}"/>
                </a:ext>
              </a:extLst>
            </p:cNvPr>
            <p:cNvSpPr/>
            <p:nvPr/>
          </p:nvSpPr>
          <p:spPr>
            <a:xfrm>
              <a:off x="2922588" y="3180801"/>
              <a:ext cx="5159201" cy="1347787"/>
            </a:xfrm>
            <a:prstGeom prst="round2SameRect">
              <a:avLst>
                <a:gd name="adj1" fmla="val 0"/>
                <a:gd name="adj2" fmla="val 5654"/>
              </a:avLst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3E3CEE0-1569-E149-2E22-B27087F390E9}"/>
                </a:ext>
              </a:extLst>
            </p:cNvPr>
            <p:cNvSpPr txBox="1"/>
            <p:nvPr/>
          </p:nvSpPr>
          <p:spPr>
            <a:xfrm>
              <a:off x="3028443" y="2771388"/>
              <a:ext cx="4977411" cy="338554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T Pressura LCG Black"/>
                  <a:ea typeface="+mn-ea"/>
                  <a:cs typeface="+mn-cs"/>
                </a:rPr>
                <a:t>TO ORDER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919D687-576B-264A-F866-18031DE7A949}"/>
                </a:ext>
              </a:extLst>
            </p:cNvPr>
            <p:cNvSpPr txBox="1"/>
            <p:nvPr/>
          </p:nvSpPr>
          <p:spPr>
            <a:xfrm>
              <a:off x="3028442" y="3269625"/>
              <a:ext cx="2346444" cy="1178642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ero Bin Event Reques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: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Start with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is form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to request Cero Bins for your event. 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2B26A4A-C0F6-1256-B363-A011112AF209}"/>
                </a:ext>
              </a:extLst>
            </p:cNvPr>
            <p:cNvSpPr txBox="1"/>
            <p:nvPr/>
          </p:nvSpPr>
          <p:spPr>
            <a:xfrm>
              <a:off x="5630736" y="3269625"/>
              <a:ext cx="2346444" cy="1178642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ero Bin Event Order Form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: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Use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is form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B660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once availability has been confirmed and you are ready to order your bins. 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BDEC784D-A686-75FF-D89F-509232DFD17F}"/>
                </a:ext>
              </a:extLst>
            </p:cNvPr>
            <p:cNvCxnSpPr>
              <a:cxnSpLocks/>
            </p:cNvCxnSpPr>
            <p:nvPr/>
          </p:nvCxnSpPr>
          <p:spPr>
            <a:xfrm>
              <a:off x="5502188" y="3180801"/>
              <a:ext cx="0" cy="1347787"/>
            </a:xfrm>
            <a:prstGeom prst="line">
              <a:avLst/>
            </a:prstGeom>
            <a:ln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AF67E917-B796-AB81-C813-0DB7373BDFF8}"/>
              </a:ext>
            </a:extLst>
          </p:cNvPr>
          <p:cNvSpPr txBox="1"/>
          <p:nvPr/>
        </p:nvSpPr>
        <p:spPr>
          <a:xfrm>
            <a:off x="304800" y="5501110"/>
            <a:ext cx="1464520" cy="67710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PBNA </a:t>
            </a:r>
            <a:b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</a:b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APPROV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8B346A4-FB7C-C5F3-DB95-8C0B797CBD91}"/>
              </a:ext>
            </a:extLst>
          </p:cNvPr>
          <p:cNvGrpSpPr/>
          <p:nvPr/>
        </p:nvGrpSpPr>
        <p:grpSpPr>
          <a:xfrm>
            <a:off x="10590414" y="0"/>
            <a:ext cx="1601585" cy="374073"/>
            <a:chOff x="10590414" y="0"/>
            <a:chExt cx="1601585" cy="374073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58D8D28-A2F7-2E11-2BEA-B53C1E83116A}"/>
                </a:ext>
              </a:extLst>
            </p:cNvPr>
            <p:cNvGrpSpPr/>
            <p:nvPr/>
          </p:nvGrpSpPr>
          <p:grpSpPr>
            <a:xfrm>
              <a:off x="10590414" y="0"/>
              <a:ext cx="1601585" cy="374073"/>
              <a:chOff x="10590414" y="-1"/>
              <a:chExt cx="1601585" cy="374073"/>
            </a:xfrm>
            <a:solidFill>
              <a:srgbClr val="EC9F0B"/>
            </a:solidFill>
          </p:grpSpPr>
          <p:sp>
            <p:nvSpPr>
              <p:cNvPr id="6" name="Rounded Rectangle 9">
                <a:extLst>
                  <a:ext uri="{FF2B5EF4-FFF2-40B4-BE49-F238E27FC236}">
                    <a16:creationId xmlns:a16="http://schemas.microsoft.com/office/drawing/2014/main" id="{78255E50-5772-3ECC-3F0F-F477E2C999F8}"/>
                  </a:ext>
                </a:extLst>
              </p:cNvPr>
              <p:cNvSpPr/>
              <p:nvPr/>
            </p:nvSpPr>
            <p:spPr>
              <a:xfrm>
                <a:off x="10590414" y="-1"/>
                <a:ext cx="1601585" cy="37407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D9CBA90C-6974-FF21-D3B0-E06ECC6EE97A}"/>
                  </a:ext>
                </a:extLst>
              </p:cNvPr>
              <p:cNvSpPr/>
              <p:nvPr/>
            </p:nvSpPr>
            <p:spPr>
              <a:xfrm>
                <a:off x="11776363" y="0"/>
                <a:ext cx="415636" cy="37407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80481104-FA79-6725-055B-8C60D9BFD6A2}"/>
                  </a:ext>
                </a:extLst>
              </p:cNvPr>
              <p:cNvSpPr/>
              <p:nvPr/>
            </p:nvSpPr>
            <p:spPr>
              <a:xfrm>
                <a:off x="10590414" y="0"/>
                <a:ext cx="415636" cy="1828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1917C8A-97E9-07FE-1C36-05BF8CB5F74F}"/>
                </a:ext>
              </a:extLst>
            </p:cNvPr>
            <p:cNvSpPr txBox="1"/>
            <p:nvPr/>
          </p:nvSpPr>
          <p:spPr>
            <a:xfrm>
              <a:off x="10698193" y="98858"/>
              <a:ext cx="1493806" cy="182881"/>
            </a:xfrm>
            <a:prstGeom prst="rect">
              <a:avLst/>
            </a:prstGeom>
            <a:solidFill>
              <a:srgbClr val="EC9F0B"/>
            </a:solidFill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 panose="00000600000000000000" pitchFamily="50" charset="0"/>
                  <a:ea typeface="+mn-ea"/>
                  <a:cs typeface="Arial" panose="020B0604020202020204" pitchFamily="34" charset="0"/>
                </a:rPr>
                <a:t>INTERNAL ON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40189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D28504-F1E9-38E3-1086-CB75C217D8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39338E4D-79FF-1F8F-53DC-A49832697284}"/>
              </a:ext>
            </a:extLst>
          </p:cNvPr>
          <p:cNvSpPr>
            <a:spLocks/>
          </p:cNvSpPr>
          <p:nvPr/>
        </p:nvSpPr>
        <p:spPr>
          <a:xfrm>
            <a:off x="4827207" y="2028704"/>
            <a:ext cx="7364793" cy="4257795"/>
          </a:xfrm>
          <a:custGeom>
            <a:avLst/>
            <a:gdLst>
              <a:gd name="connsiteX0" fmla="*/ 139576 w 7364793"/>
              <a:gd name="connsiteY0" fmla="*/ 0 h 4426758"/>
              <a:gd name="connsiteX1" fmla="*/ 7364793 w 7364793"/>
              <a:gd name="connsiteY1" fmla="*/ 0 h 4426758"/>
              <a:gd name="connsiteX2" fmla="*/ 7364793 w 7364793"/>
              <a:gd name="connsiteY2" fmla="*/ 4426758 h 4426758"/>
              <a:gd name="connsiteX3" fmla="*/ 139576 w 7364793"/>
              <a:gd name="connsiteY3" fmla="*/ 4426758 h 4426758"/>
              <a:gd name="connsiteX4" fmla="*/ 0 w 7364793"/>
              <a:gd name="connsiteY4" fmla="*/ 4287182 h 4426758"/>
              <a:gd name="connsiteX5" fmla="*/ 0 w 7364793"/>
              <a:gd name="connsiteY5" fmla="*/ 139576 h 4426758"/>
              <a:gd name="connsiteX6" fmla="*/ 139576 w 7364793"/>
              <a:gd name="connsiteY6" fmla="*/ 0 h 4426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64793" h="4426758">
                <a:moveTo>
                  <a:pt x="139576" y="0"/>
                </a:moveTo>
                <a:lnTo>
                  <a:pt x="7364793" y="0"/>
                </a:lnTo>
                <a:lnTo>
                  <a:pt x="7364793" y="4426758"/>
                </a:lnTo>
                <a:lnTo>
                  <a:pt x="139576" y="4426758"/>
                </a:lnTo>
                <a:cubicBezTo>
                  <a:pt x="62489" y="4426758"/>
                  <a:pt x="0" y="4364268"/>
                  <a:pt x="0" y="4287182"/>
                </a:cubicBezTo>
                <a:lnTo>
                  <a:pt x="0" y="139576"/>
                </a:lnTo>
                <a:cubicBezTo>
                  <a:pt x="0" y="62490"/>
                  <a:pt x="62489" y="0"/>
                  <a:pt x="1395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23EABAD-645D-7485-9F1A-E65A4B6A9E1E}"/>
              </a:ext>
            </a:extLst>
          </p:cNvPr>
          <p:cNvSpPr>
            <a:spLocks/>
          </p:cNvSpPr>
          <p:nvPr/>
        </p:nvSpPr>
        <p:spPr>
          <a:xfrm>
            <a:off x="0" y="-1"/>
            <a:ext cx="4133850" cy="6858000"/>
          </a:xfrm>
          <a:prstGeom prst="rect">
            <a:avLst/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9745BCF-6B02-633C-E6C2-77BA614E88A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745BCF-6B02-633C-E6C2-77BA614E8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1B48F233-E45E-347D-CE2F-58B8E31405A1}"/>
              </a:ext>
            </a:extLst>
          </p:cNvPr>
          <p:cNvSpPr txBox="1">
            <a:spLocks/>
          </p:cNvSpPr>
          <p:nvPr/>
        </p:nvSpPr>
        <p:spPr>
          <a:xfrm>
            <a:off x="4610849" y="478675"/>
            <a:ext cx="6073193" cy="99719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all" spc="0" normalizeH="0" baseline="0" noProof="0" dirty="0">
                <a:ln>
                  <a:noFill/>
                </a:ln>
                <a:solidFill>
                  <a:srgbClr val="5D91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RECYCLING BIN MESSAGING AND PLACEMENT GUID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1CC9A60-C3FB-55CF-F342-370653B1A85C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698088-0D46-218C-E8A3-E6560D5C5C41}"/>
              </a:ext>
            </a:extLst>
          </p:cNvPr>
          <p:cNvSpPr txBox="1"/>
          <p:nvPr/>
        </p:nvSpPr>
        <p:spPr>
          <a:xfrm>
            <a:off x="391072" y="720667"/>
            <a:ext cx="2618090" cy="110799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INCLUDES 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FREE EDITABLE RECYCLING BIN SIGNAGE WITH 45 DIFFERENT ICON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8DBD29"/>
              </a:solidFill>
              <a:effectLst/>
              <a:uLnTx/>
              <a:uFillTx/>
              <a:latin typeface="GT Pressura LCG Black"/>
              <a:ea typeface="Calibri"/>
              <a:cs typeface="Calibri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365DD0-0C58-D514-FE84-D2B8BFBFD85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986" r="12986"/>
          <a:stretch>
            <a:fillRect/>
          </a:stretch>
        </p:blipFill>
        <p:spPr>
          <a:xfrm rot="10800000">
            <a:off x="174256" y="2028705"/>
            <a:ext cx="3762150" cy="2478437"/>
          </a:xfrm>
          <a:custGeom>
            <a:avLst/>
            <a:gdLst>
              <a:gd name="connsiteX0" fmla="*/ 119791 w 3902709"/>
              <a:gd name="connsiteY0" fmla="*/ 0 h 2965451"/>
              <a:gd name="connsiteX1" fmla="*/ 1056130 w 3902709"/>
              <a:gd name="connsiteY1" fmla="*/ 0 h 2965451"/>
              <a:gd name="connsiteX2" fmla="*/ 1175921 w 3902709"/>
              <a:gd name="connsiteY2" fmla="*/ 119791 h 2965451"/>
              <a:gd name="connsiteX3" fmla="*/ 1175921 w 3902709"/>
              <a:gd name="connsiteY3" fmla="*/ 813949 h 2965451"/>
              <a:gd name="connsiteX4" fmla="*/ 1312883 w 3902709"/>
              <a:gd name="connsiteY4" fmla="*/ 950911 h 2965451"/>
              <a:gd name="connsiteX5" fmla="*/ 1175921 w 3902709"/>
              <a:gd name="connsiteY5" fmla="*/ 950911 h 2965451"/>
              <a:gd name="connsiteX6" fmla="*/ 1175921 w 3902709"/>
              <a:gd name="connsiteY6" fmla="*/ 950912 h 2965451"/>
              <a:gd name="connsiteX7" fmla="*/ 1996047 w 3902709"/>
              <a:gd name="connsiteY7" fmla="*/ 950912 h 2965451"/>
              <a:gd name="connsiteX8" fmla="*/ 2114915 w 3902709"/>
              <a:gd name="connsiteY8" fmla="*/ 1077854 h 2965451"/>
              <a:gd name="connsiteX9" fmla="*/ 2114915 w 3902709"/>
              <a:gd name="connsiteY9" fmla="*/ 2223977 h 2965451"/>
              <a:gd name="connsiteX10" fmla="*/ 2251877 w 3902709"/>
              <a:gd name="connsiteY10" fmla="*/ 2360939 h 2965451"/>
              <a:gd name="connsiteX11" fmla="*/ 3753239 w 3902709"/>
              <a:gd name="connsiteY11" fmla="*/ 2360939 h 2965451"/>
              <a:gd name="connsiteX12" fmla="*/ 3902709 w 3902709"/>
              <a:gd name="connsiteY12" fmla="*/ 2510409 h 2965451"/>
              <a:gd name="connsiteX13" fmla="*/ 3902709 w 3902709"/>
              <a:gd name="connsiteY13" fmla="*/ 2965451 h 2965451"/>
              <a:gd name="connsiteX14" fmla="*/ 1544389 w 3902709"/>
              <a:gd name="connsiteY14" fmla="*/ 2965451 h 2965451"/>
              <a:gd name="connsiteX15" fmla="*/ 1544389 w 3902709"/>
              <a:gd name="connsiteY15" fmla="*/ 2965450 h 2965451"/>
              <a:gd name="connsiteX16" fmla="*/ 48258 w 3902709"/>
              <a:gd name="connsiteY16" fmla="*/ 2965450 h 2965451"/>
              <a:gd name="connsiteX17" fmla="*/ 48258 w 3902709"/>
              <a:gd name="connsiteY17" fmla="*/ 2965449 h 2965451"/>
              <a:gd name="connsiteX18" fmla="*/ 0 w 3902709"/>
              <a:gd name="connsiteY18" fmla="*/ 2965449 h 2965451"/>
              <a:gd name="connsiteX19" fmla="*/ 0 w 3902709"/>
              <a:gd name="connsiteY19" fmla="*/ 119791 h 2965451"/>
              <a:gd name="connsiteX20" fmla="*/ 119791 w 3902709"/>
              <a:gd name="connsiteY20" fmla="*/ 0 h 2965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902709" h="2965451">
                <a:moveTo>
                  <a:pt x="119791" y="0"/>
                </a:moveTo>
                <a:lnTo>
                  <a:pt x="1056130" y="0"/>
                </a:lnTo>
                <a:cubicBezTo>
                  <a:pt x="1122289" y="0"/>
                  <a:pt x="1175921" y="53632"/>
                  <a:pt x="1175921" y="119791"/>
                </a:cubicBezTo>
                <a:lnTo>
                  <a:pt x="1175921" y="813949"/>
                </a:lnTo>
                <a:cubicBezTo>
                  <a:pt x="1175921" y="889591"/>
                  <a:pt x="1237241" y="950911"/>
                  <a:pt x="1312883" y="950911"/>
                </a:cubicBezTo>
                <a:lnTo>
                  <a:pt x="1175921" y="950911"/>
                </a:lnTo>
                <a:lnTo>
                  <a:pt x="1175921" y="950912"/>
                </a:lnTo>
                <a:lnTo>
                  <a:pt x="1996047" y="950912"/>
                </a:lnTo>
                <a:cubicBezTo>
                  <a:pt x="2061696" y="950912"/>
                  <a:pt x="2114915" y="1007746"/>
                  <a:pt x="2114915" y="1077854"/>
                </a:cubicBezTo>
                <a:lnTo>
                  <a:pt x="2114915" y="2223977"/>
                </a:lnTo>
                <a:cubicBezTo>
                  <a:pt x="2114915" y="2299619"/>
                  <a:pt x="2176235" y="2360939"/>
                  <a:pt x="2251877" y="2360939"/>
                </a:cubicBezTo>
                <a:lnTo>
                  <a:pt x="3753239" y="2360939"/>
                </a:lnTo>
                <a:cubicBezTo>
                  <a:pt x="3835789" y="2360939"/>
                  <a:pt x="3902709" y="2427859"/>
                  <a:pt x="3902709" y="2510409"/>
                </a:cubicBezTo>
                <a:lnTo>
                  <a:pt x="3902709" y="2965451"/>
                </a:lnTo>
                <a:lnTo>
                  <a:pt x="1544389" y="2965451"/>
                </a:lnTo>
                <a:lnTo>
                  <a:pt x="1544389" y="2965450"/>
                </a:lnTo>
                <a:lnTo>
                  <a:pt x="48258" y="2965450"/>
                </a:lnTo>
                <a:lnTo>
                  <a:pt x="48258" y="2965449"/>
                </a:lnTo>
                <a:lnTo>
                  <a:pt x="0" y="2965449"/>
                </a:lnTo>
                <a:lnTo>
                  <a:pt x="0" y="119791"/>
                </a:lnTo>
                <a:cubicBezTo>
                  <a:pt x="0" y="53632"/>
                  <a:pt x="53632" y="0"/>
                  <a:pt x="119791" y="0"/>
                </a:cubicBez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F5AB8D7-195D-D99F-CB9A-5240381A6F0C}"/>
              </a:ext>
            </a:extLst>
          </p:cNvPr>
          <p:cNvSpPr txBox="1"/>
          <p:nvPr/>
        </p:nvSpPr>
        <p:spPr>
          <a:xfrm>
            <a:off x="5151205" y="4311115"/>
            <a:ext cx="6621042" cy="164660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ABOUT THE GUID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ur customers are often interested to know if PepsiCo has specific best practices related to placing and designing recycling bin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To fill this need, we’ve partnered with a recycling research organization to gather information on the best bin placement, design, and messaging strategies for optimal public participation in recycling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Calibri"/>
              <a:cs typeface="Calibri"/>
            </a:endParaRPr>
          </a:p>
        </p:txBody>
      </p:sp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F54C11E6-4E68-E175-049B-621A61488BC8}"/>
              </a:ext>
            </a:extLst>
          </p:cNvPr>
          <p:cNvSpPr txBox="1">
            <a:spLocks/>
          </p:cNvSpPr>
          <p:nvPr/>
        </p:nvSpPr>
        <p:spPr>
          <a:xfrm>
            <a:off x="4524922" y="1521251"/>
            <a:ext cx="5985541" cy="3063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rgbClr val="2B660F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2B660F"/>
              </a:buClr>
              <a:buFont typeface="Arial" panose="020B0604020202020204" pitchFamily="34" charset="0"/>
              <a:buChar char="•"/>
              <a:defRPr sz="1400" kern="1200">
                <a:solidFill>
                  <a:srgbClr val="2B660F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2B660F"/>
              </a:buClr>
              <a:buFont typeface="Arial" panose="020B0604020202020204" pitchFamily="34" charset="0"/>
              <a:buChar char="–"/>
              <a:defRPr sz="1200" kern="1200">
                <a:solidFill>
                  <a:srgbClr val="2B660F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2B660F"/>
              </a:buClr>
              <a:buFont typeface="Arial" panose="020B0604020202020204" pitchFamily="34" charset="0"/>
              <a:buChar char="•"/>
              <a:defRPr sz="1100" kern="1200">
                <a:solidFill>
                  <a:srgbClr val="2B660F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2B660F"/>
              </a:buClr>
              <a:buFont typeface="Arial" panose="020B0604020202020204" pitchFamily="34" charset="0"/>
              <a:buChar char="–"/>
              <a:defRPr sz="1050" kern="1200">
                <a:solidFill>
                  <a:srgbClr val="2B660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 comprehensive best practices document rooted in research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57016D-314F-6CA0-824E-CA49918993C4}"/>
              </a:ext>
            </a:extLst>
          </p:cNvPr>
          <p:cNvSpPr txBox="1"/>
          <p:nvPr/>
        </p:nvSpPr>
        <p:spPr>
          <a:xfrm>
            <a:off x="5124314" y="2432485"/>
            <a:ext cx="6621043" cy="80021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NEED BIN SIGNAGE OR PLACEMENT SUGGESTIONS FOR YOUR EVENTS?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EE THE GUIDE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 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FA839E4-837A-DB7D-62DA-2358D8A4D1C9}"/>
              </a:ext>
            </a:extLst>
          </p:cNvPr>
          <p:cNvSpPr/>
          <p:nvPr/>
        </p:nvSpPr>
        <p:spPr>
          <a:xfrm>
            <a:off x="7388247" y="3499140"/>
            <a:ext cx="2146957" cy="357039"/>
          </a:xfrm>
          <a:prstGeom prst="roundRect">
            <a:avLst>
              <a:gd name="adj" fmla="val 50000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Calibri"/>
                <a:cs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vailable he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BFDE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4110D96-39A8-75C6-FABD-1DA08B1A7F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986" r="12986"/>
          <a:stretch>
            <a:fillRect/>
          </a:stretch>
        </p:blipFill>
        <p:spPr>
          <a:xfrm>
            <a:off x="174256" y="3800017"/>
            <a:ext cx="3762150" cy="2478437"/>
          </a:xfrm>
          <a:custGeom>
            <a:avLst/>
            <a:gdLst>
              <a:gd name="connsiteX0" fmla="*/ 119791 w 3902709"/>
              <a:gd name="connsiteY0" fmla="*/ 0 h 2965451"/>
              <a:gd name="connsiteX1" fmla="*/ 1056130 w 3902709"/>
              <a:gd name="connsiteY1" fmla="*/ 0 h 2965451"/>
              <a:gd name="connsiteX2" fmla="*/ 1175921 w 3902709"/>
              <a:gd name="connsiteY2" fmla="*/ 119791 h 2965451"/>
              <a:gd name="connsiteX3" fmla="*/ 1175921 w 3902709"/>
              <a:gd name="connsiteY3" fmla="*/ 813949 h 2965451"/>
              <a:gd name="connsiteX4" fmla="*/ 1312883 w 3902709"/>
              <a:gd name="connsiteY4" fmla="*/ 950911 h 2965451"/>
              <a:gd name="connsiteX5" fmla="*/ 1175921 w 3902709"/>
              <a:gd name="connsiteY5" fmla="*/ 950911 h 2965451"/>
              <a:gd name="connsiteX6" fmla="*/ 1175921 w 3902709"/>
              <a:gd name="connsiteY6" fmla="*/ 950912 h 2965451"/>
              <a:gd name="connsiteX7" fmla="*/ 1996047 w 3902709"/>
              <a:gd name="connsiteY7" fmla="*/ 950912 h 2965451"/>
              <a:gd name="connsiteX8" fmla="*/ 2114915 w 3902709"/>
              <a:gd name="connsiteY8" fmla="*/ 1077854 h 2965451"/>
              <a:gd name="connsiteX9" fmla="*/ 2114915 w 3902709"/>
              <a:gd name="connsiteY9" fmla="*/ 2223977 h 2965451"/>
              <a:gd name="connsiteX10" fmla="*/ 2251877 w 3902709"/>
              <a:gd name="connsiteY10" fmla="*/ 2360939 h 2965451"/>
              <a:gd name="connsiteX11" fmla="*/ 3753239 w 3902709"/>
              <a:gd name="connsiteY11" fmla="*/ 2360939 h 2965451"/>
              <a:gd name="connsiteX12" fmla="*/ 3902709 w 3902709"/>
              <a:gd name="connsiteY12" fmla="*/ 2510409 h 2965451"/>
              <a:gd name="connsiteX13" fmla="*/ 3902709 w 3902709"/>
              <a:gd name="connsiteY13" fmla="*/ 2965451 h 2965451"/>
              <a:gd name="connsiteX14" fmla="*/ 1544389 w 3902709"/>
              <a:gd name="connsiteY14" fmla="*/ 2965451 h 2965451"/>
              <a:gd name="connsiteX15" fmla="*/ 1544389 w 3902709"/>
              <a:gd name="connsiteY15" fmla="*/ 2965450 h 2965451"/>
              <a:gd name="connsiteX16" fmla="*/ 48258 w 3902709"/>
              <a:gd name="connsiteY16" fmla="*/ 2965450 h 2965451"/>
              <a:gd name="connsiteX17" fmla="*/ 48258 w 3902709"/>
              <a:gd name="connsiteY17" fmla="*/ 2965449 h 2965451"/>
              <a:gd name="connsiteX18" fmla="*/ 0 w 3902709"/>
              <a:gd name="connsiteY18" fmla="*/ 2965449 h 2965451"/>
              <a:gd name="connsiteX19" fmla="*/ 0 w 3902709"/>
              <a:gd name="connsiteY19" fmla="*/ 119791 h 2965451"/>
              <a:gd name="connsiteX20" fmla="*/ 119791 w 3902709"/>
              <a:gd name="connsiteY20" fmla="*/ 0 h 2965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902709" h="2965451">
                <a:moveTo>
                  <a:pt x="119791" y="0"/>
                </a:moveTo>
                <a:lnTo>
                  <a:pt x="1056130" y="0"/>
                </a:lnTo>
                <a:cubicBezTo>
                  <a:pt x="1122289" y="0"/>
                  <a:pt x="1175921" y="53632"/>
                  <a:pt x="1175921" y="119791"/>
                </a:cubicBezTo>
                <a:lnTo>
                  <a:pt x="1175921" y="813949"/>
                </a:lnTo>
                <a:cubicBezTo>
                  <a:pt x="1175921" y="889591"/>
                  <a:pt x="1237241" y="950911"/>
                  <a:pt x="1312883" y="950911"/>
                </a:cubicBezTo>
                <a:lnTo>
                  <a:pt x="1175921" y="950911"/>
                </a:lnTo>
                <a:lnTo>
                  <a:pt x="1175921" y="950912"/>
                </a:lnTo>
                <a:lnTo>
                  <a:pt x="1996047" y="950912"/>
                </a:lnTo>
                <a:cubicBezTo>
                  <a:pt x="2061696" y="950912"/>
                  <a:pt x="2114915" y="1007746"/>
                  <a:pt x="2114915" y="1077854"/>
                </a:cubicBezTo>
                <a:lnTo>
                  <a:pt x="2114915" y="2223977"/>
                </a:lnTo>
                <a:cubicBezTo>
                  <a:pt x="2114915" y="2299619"/>
                  <a:pt x="2176235" y="2360939"/>
                  <a:pt x="2251877" y="2360939"/>
                </a:cubicBezTo>
                <a:lnTo>
                  <a:pt x="3753239" y="2360939"/>
                </a:lnTo>
                <a:cubicBezTo>
                  <a:pt x="3835789" y="2360939"/>
                  <a:pt x="3902709" y="2427859"/>
                  <a:pt x="3902709" y="2510409"/>
                </a:cubicBezTo>
                <a:lnTo>
                  <a:pt x="3902709" y="2965451"/>
                </a:lnTo>
                <a:lnTo>
                  <a:pt x="1544389" y="2965451"/>
                </a:lnTo>
                <a:lnTo>
                  <a:pt x="1544389" y="2965450"/>
                </a:lnTo>
                <a:lnTo>
                  <a:pt x="48258" y="2965450"/>
                </a:lnTo>
                <a:lnTo>
                  <a:pt x="48258" y="2965449"/>
                </a:lnTo>
                <a:lnTo>
                  <a:pt x="0" y="2965449"/>
                </a:lnTo>
                <a:lnTo>
                  <a:pt x="0" y="119791"/>
                </a:lnTo>
                <a:cubicBezTo>
                  <a:pt x="0" y="53632"/>
                  <a:pt x="53632" y="0"/>
                  <a:pt x="119791" y="0"/>
                </a:cubicBezTo>
                <a:close/>
              </a:path>
            </a:pathLst>
          </a:cu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4568DD6-C93C-E79C-1509-B1AC8634BD3E}"/>
              </a:ext>
            </a:extLst>
          </p:cNvPr>
          <p:cNvGrpSpPr/>
          <p:nvPr/>
        </p:nvGrpSpPr>
        <p:grpSpPr>
          <a:xfrm>
            <a:off x="197443" y="2362464"/>
            <a:ext cx="3738963" cy="3871920"/>
            <a:chOff x="3183730" y="1240631"/>
            <a:chExt cx="4083591" cy="4786975"/>
          </a:xfrm>
        </p:grpSpPr>
        <p:pic>
          <p:nvPicPr>
            <p:cNvPr id="4" name="Picture 3" descr="A group of recycle signs&#10;&#10;AI-generated content may be incorrect.">
              <a:extLst>
                <a:ext uri="{FF2B5EF4-FFF2-40B4-BE49-F238E27FC236}">
                  <a16:creationId xmlns:a16="http://schemas.microsoft.com/office/drawing/2014/main" id="{E1BD9D8B-5EE8-EC9D-09CC-F4BFECC9D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511" t="437" r="55147" b="49031"/>
            <a:stretch>
              <a:fillRect/>
            </a:stretch>
          </p:blipFill>
          <p:spPr>
            <a:xfrm>
              <a:off x="3183730" y="1240631"/>
              <a:ext cx="1933575" cy="2483644"/>
            </a:xfrm>
            <a:prstGeom prst="roundRect">
              <a:avLst>
                <a:gd name="adj" fmla="val 3531"/>
              </a:avLst>
            </a:prstGeom>
            <a:ln w="19050">
              <a:solidFill>
                <a:srgbClr val="4FE2F3"/>
              </a:solidFill>
            </a:ln>
          </p:spPr>
        </p:pic>
        <p:pic>
          <p:nvPicPr>
            <p:cNvPr id="5" name="Picture 4" descr="A group of recycle signs&#10;&#10;AI-generated content may be incorrect.">
              <a:extLst>
                <a:ext uri="{FF2B5EF4-FFF2-40B4-BE49-F238E27FC236}">
                  <a16:creationId xmlns:a16="http://schemas.microsoft.com/office/drawing/2014/main" id="{71E437EE-F630-E05F-03D1-FB8CEA1D85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31238" t="20030" r="24420" b="29438"/>
            <a:stretch>
              <a:fillRect/>
            </a:stretch>
          </p:blipFill>
          <p:spPr>
            <a:xfrm>
              <a:off x="4455806" y="2151195"/>
              <a:ext cx="1933575" cy="2483644"/>
            </a:xfrm>
            <a:prstGeom prst="roundRect">
              <a:avLst>
                <a:gd name="adj" fmla="val 3531"/>
              </a:avLst>
            </a:prstGeom>
            <a:ln w="19050">
              <a:solidFill>
                <a:srgbClr val="4FE2F3"/>
              </a:solidFill>
            </a:ln>
          </p:spPr>
        </p:pic>
        <p:pic>
          <p:nvPicPr>
            <p:cNvPr id="6" name="Picture 5" descr="A group of recycle signs&#10;&#10;AI-generated content may be incorrect.">
              <a:extLst>
                <a:ext uri="{FF2B5EF4-FFF2-40B4-BE49-F238E27FC236}">
                  <a16:creationId xmlns:a16="http://schemas.microsoft.com/office/drawing/2014/main" id="{1D4C1FA4-9D3F-F370-0012-851FBFEAE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55502" t="48970" r="829" b="498"/>
            <a:stretch>
              <a:fillRect/>
            </a:stretch>
          </p:blipFill>
          <p:spPr>
            <a:xfrm>
              <a:off x="5363116" y="3543962"/>
              <a:ext cx="1904205" cy="2483644"/>
            </a:xfrm>
            <a:prstGeom prst="roundRect">
              <a:avLst>
                <a:gd name="adj" fmla="val 3531"/>
              </a:avLst>
            </a:prstGeom>
            <a:ln w="19050">
              <a:solidFill>
                <a:srgbClr val="4FE2F3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896783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leaf pattern with a few green leaves&#10;&#10;AI-generated content may be incorrect.">
            <a:extLst>
              <a:ext uri="{FF2B5EF4-FFF2-40B4-BE49-F238E27FC236}">
                <a16:creationId xmlns:a16="http://schemas.microsoft.com/office/drawing/2014/main" id="{0BB2805E-C5EE-96AE-A808-46B29DBEF6A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rcRect l="1" r="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BD35004E-BD48-1985-FB2B-66BA0A752F53}"/>
              </a:ext>
            </a:extLst>
          </p:cNvPr>
          <p:cNvSpPr>
            <a:spLocks/>
          </p:cNvSpPr>
          <p:nvPr/>
        </p:nvSpPr>
        <p:spPr>
          <a:xfrm flipH="1">
            <a:off x="0" y="1"/>
            <a:ext cx="12192000" cy="6858000"/>
          </a:xfrm>
          <a:prstGeom prst="rect">
            <a:avLst/>
          </a:prstGeom>
          <a:solidFill>
            <a:srgbClr val="0F440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11929A16-D4C8-288B-B58B-6585AC2D071A}"/>
              </a:ext>
            </a:extLst>
          </p:cNvPr>
          <p:cNvSpPr>
            <a:spLocks/>
          </p:cNvSpPr>
          <p:nvPr/>
        </p:nvSpPr>
        <p:spPr>
          <a:xfrm flipH="1">
            <a:off x="4117258" y="936"/>
            <a:ext cx="8074741" cy="6857064"/>
          </a:xfrm>
          <a:prstGeom prst="round1Rect">
            <a:avLst>
              <a:gd name="adj" fmla="val 3169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61" name="Rectangle: Single Corner Rounded 60">
            <a:extLst>
              <a:ext uri="{FF2B5EF4-FFF2-40B4-BE49-F238E27FC236}">
                <a16:creationId xmlns:a16="http://schemas.microsoft.com/office/drawing/2014/main" id="{AB610E24-CD6F-D4C8-45F6-DBCA07088C90}"/>
              </a:ext>
            </a:extLst>
          </p:cNvPr>
          <p:cNvSpPr/>
          <p:nvPr/>
        </p:nvSpPr>
        <p:spPr>
          <a:xfrm flipH="1" flipV="1">
            <a:off x="4492443" y="5187072"/>
            <a:ext cx="7699553" cy="1215401"/>
          </a:xfrm>
          <a:prstGeom prst="round1Rect">
            <a:avLst>
              <a:gd name="adj" fmla="val 10028"/>
            </a:avLst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57" name="Rectangle: Single Corner Rounded 56">
            <a:extLst>
              <a:ext uri="{FF2B5EF4-FFF2-40B4-BE49-F238E27FC236}">
                <a16:creationId xmlns:a16="http://schemas.microsoft.com/office/drawing/2014/main" id="{444997EF-0BF2-8317-74B8-DA850F24C671}"/>
              </a:ext>
            </a:extLst>
          </p:cNvPr>
          <p:cNvSpPr/>
          <p:nvPr/>
        </p:nvSpPr>
        <p:spPr>
          <a:xfrm flipH="1" flipV="1">
            <a:off x="4492446" y="980254"/>
            <a:ext cx="7699553" cy="1782447"/>
          </a:xfrm>
          <a:prstGeom prst="round1Rect">
            <a:avLst>
              <a:gd name="adj" fmla="val 6371"/>
            </a:avLst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58" name="Rectangle: Single Corner Rounded 57">
            <a:extLst>
              <a:ext uri="{FF2B5EF4-FFF2-40B4-BE49-F238E27FC236}">
                <a16:creationId xmlns:a16="http://schemas.microsoft.com/office/drawing/2014/main" id="{8D5EBAB2-2AF7-F10E-606D-3BBFE71AA18A}"/>
              </a:ext>
            </a:extLst>
          </p:cNvPr>
          <p:cNvSpPr/>
          <p:nvPr/>
        </p:nvSpPr>
        <p:spPr>
          <a:xfrm flipH="1" flipV="1">
            <a:off x="4492445" y="3513718"/>
            <a:ext cx="7699553" cy="980044"/>
          </a:xfrm>
          <a:prstGeom prst="round1Rect">
            <a:avLst>
              <a:gd name="adj" fmla="val 12202"/>
            </a:avLst>
          </a:pr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A46BDD-F37C-6380-71B6-D28A5258619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A46BDD-F37C-6380-71B6-D28A52586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A16B8617-7D1F-C941-08EF-11000E026451}"/>
              </a:ext>
            </a:extLst>
          </p:cNvPr>
          <p:cNvSpPr txBox="1">
            <a:spLocks/>
          </p:cNvSpPr>
          <p:nvPr/>
        </p:nvSpPr>
        <p:spPr>
          <a:xfrm>
            <a:off x="304800" y="1311250"/>
            <a:ext cx="3683000" cy="29029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5D910D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all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j-ea"/>
                <a:cs typeface="+mj-cs"/>
              </a:rPr>
              <a:t>EVENT SUSTAINABLE SAMPLING CHECKLIS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452E387-6126-86A1-1064-6BC69CAEFBAF}"/>
              </a:ext>
            </a:extLst>
          </p:cNvPr>
          <p:cNvSpPr/>
          <p:nvPr/>
        </p:nvSpPr>
        <p:spPr>
          <a:xfrm>
            <a:off x="4492447" y="426499"/>
            <a:ext cx="3138046" cy="46701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BFDE7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PRE-EV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2617CA8-FD20-2A11-440A-F510CEAF15DF}"/>
              </a:ext>
            </a:extLst>
          </p:cNvPr>
          <p:cNvCxnSpPr>
            <a:cxnSpLocks/>
          </p:cNvCxnSpPr>
          <p:nvPr/>
        </p:nvCxnSpPr>
        <p:spPr>
          <a:xfrm>
            <a:off x="4492447" y="980254"/>
            <a:ext cx="7699552" cy="0"/>
          </a:xfrm>
          <a:prstGeom prst="line">
            <a:avLst/>
          </a:prstGeom>
          <a:ln w="25400">
            <a:solidFill>
              <a:srgbClr val="BFD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A24FCE6-6436-2A18-8CC4-07546D4F6426}"/>
              </a:ext>
            </a:extLst>
          </p:cNvPr>
          <p:cNvSpPr txBox="1"/>
          <p:nvPr/>
        </p:nvSpPr>
        <p:spPr>
          <a:xfrm>
            <a:off x="4685439" y="1106473"/>
            <a:ext cx="3610291" cy="567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FDE7D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ecure a venue with sustainability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in min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CAEFA7-BA12-2E88-DC1D-89D330F0B7EB}"/>
              </a:ext>
            </a:extLst>
          </p:cNvPr>
          <p:cNvSpPr txBox="1"/>
          <p:nvPr/>
        </p:nvSpPr>
        <p:spPr>
          <a:xfrm>
            <a:off x="8407536" y="1106473"/>
            <a:ext cx="3610291" cy="567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FDE7D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lan for diversion for food waste, sample cups, dishware &amp; display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68BFE4-D2AE-4862-C798-B11EF3AB158F}"/>
              </a:ext>
            </a:extLst>
          </p:cNvPr>
          <p:cNvSpPr txBox="1"/>
          <p:nvPr/>
        </p:nvSpPr>
        <p:spPr>
          <a:xfrm>
            <a:off x="4685439" y="1784457"/>
            <a:ext cx="3610291" cy="640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FDE7D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rder sampling items based on venue capacity (Recycling, Reuse, Composting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3DFBFAB-3705-4DB6-ADF5-76584C9F1CE4}"/>
              </a:ext>
            </a:extLst>
          </p:cNvPr>
          <p:cNvSpPr txBox="1"/>
          <p:nvPr/>
        </p:nvSpPr>
        <p:spPr>
          <a:xfrm>
            <a:off x="8407537" y="1784457"/>
            <a:ext cx="3393938" cy="640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FDE7D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quest Cero Bins from using the Event Request Form at leas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DBD29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30 DAY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in advanc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BA067A-5A3A-5C82-F3CB-B116837E84F4}"/>
              </a:ext>
            </a:extLst>
          </p:cNvPr>
          <p:cNvSpPr/>
          <p:nvPr/>
        </p:nvSpPr>
        <p:spPr>
          <a:xfrm>
            <a:off x="4492447" y="2959963"/>
            <a:ext cx="3138046" cy="46701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BFDE7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EVENT ACTIVITIE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9A26DC-75F5-6ABD-1A28-7217F4F443EE}"/>
              </a:ext>
            </a:extLst>
          </p:cNvPr>
          <p:cNvCxnSpPr>
            <a:cxnSpLocks/>
          </p:cNvCxnSpPr>
          <p:nvPr/>
        </p:nvCxnSpPr>
        <p:spPr>
          <a:xfrm>
            <a:off x="4492447" y="3513718"/>
            <a:ext cx="7699553" cy="0"/>
          </a:xfrm>
          <a:prstGeom prst="line">
            <a:avLst/>
          </a:prstGeom>
          <a:ln w="25400">
            <a:solidFill>
              <a:srgbClr val="BFD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4D6F9E7-9068-5521-2349-27232D03BA69}"/>
              </a:ext>
            </a:extLst>
          </p:cNvPr>
          <p:cNvSpPr txBox="1"/>
          <p:nvPr/>
        </p:nvSpPr>
        <p:spPr>
          <a:xfrm>
            <a:off x="4685439" y="3639937"/>
            <a:ext cx="3610291" cy="567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FDE7D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Ensure recycling and composting bins are places in key areas near trash bin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F734B6-B963-F7FC-D237-F46C4987574E}"/>
              </a:ext>
            </a:extLst>
          </p:cNvPr>
          <p:cNvSpPr txBox="1"/>
          <p:nvPr/>
        </p:nvSpPr>
        <p:spPr>
          <a:xfrm>
            <a:off x="8407536" y="3639937"/>
            <a:ext cx="3610291" cy="567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FDE7D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Ensure on-site staff sorts recyclables and compostables into the correct Back of House receptacles for pickup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E3A16F3-E8BF-FC84-C99B-239250DBD336}"/>
              </a:ext>
            </a:extLst>
          </p:cNvPr>
          <p:cNvSpPr/>
          <p:nvPr/>
        </p:nvSpPr>
        <p:spPr>
          <a:xfrm>
            <a:off x="4492447" y="4633317"/>
            <a:ext cx="3138046" cy="46701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BFDE7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POST EVEN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404E6E1-ED81-4446-CD15-5E27AF9DA428}"/>
              </a:ext>
            </a:extLst>
          </p:cNvPr>
          <p:cNvCxnSpPr>
            <a:cxnSpLocks/>
          </p:cNvCxnSpPr>
          <p:nvPr/>
        </p:nvCxnSpPr>
        <p:spPr>
          <a:xfrm>
            <a:off x="4492447" y="5187072"/>
            <a:ext cx="7699552" cy="0"/>
          </a:xfrm>
          <a:prstGeom prst="line">
            <a:avLst/>
          </a:prstGeom>
          <a:ln w="25400">
            <a:solidFill>
              <a:srgbClr val="BFD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460B49CA-BC2D-1EF1-6FDC-49D0B29A06B7}"/>
              </a:ext>
            </a:extLst>
          </p:cNvPr>
          <p:cNvSpPr txBox="1"/>
          <p:nvPr/>
        </p:nvSpPr>
        <p:spPr>
          <a:xfrm>
            <a:off x="4685439" y="5313291"/>
            <a:ext cx="1644063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FDE7D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turn Cero Bin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6B38A98-D1A8-ED1C-BFCB-AC910C417D38}"/>
              </a:ext>
            </a:extLst>
          </p:cNvPr>
          <p:cNvSpPr txBox="1"/>
          <p:nvPr/>
        </p:nvSpPr>
        <p:spPr>
          <a:xfrm>
            <a:off x="9581967" y="5313291"/>
            <a:ext cx="243586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FDE7D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llect data from sampling team on the number of sampling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items use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102A6-E44A-0425-ADED-07C243ED348F}"/>
              </a:ext>
            </a:extLst>
          </p:cNvPr>
          <p:cNvSpPr txBox="1"/>
          <p:nvPr/>
        </p:nvSpPr>
        <p:spPr>
          <a:xfrm>
            <a:off x="6737805" y="5313291"/>
            <a:ext cx="243586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FDE7D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llect data from vendors on waste diverted including recyclable and compostables collected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551C16A-E8D9-391E-6EF5-9E1EE918DD82}"/>
              </a:ext>
            </a:extLst>
          </p:cNvPr>
          <p:cNvSpPr txBox="1"/>
          <p:nvPr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NFIDENTIAL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D45D54D-E217-6503-3F92-71BBF9323B0F}"/>
              </a:ext>
            </a:extLst>
          </p:cNvPr>
          <p:cNvSpPr txBox="1"/>
          <p:nvPr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6B5273-46EB-4870-A6B0-6E7F43CBD6D0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BFDE7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BFDE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34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2.xml><?xml version="1.0" encoding="utf-8"?>
<a:theme xmlns:a="http://schemas.openxmlformats.org/drawingml/2006/main" name="1_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3.xml><?xml version="1.0" encoding="utf-8"?>
<a:theme xmlns:a="http://schemas.openxmlformats.org/drawingml/2006/main" name="2_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61366E4F15C84B88D51EE8B82FAF3A" ma:contentTypeVersion="8" ma:contentTypeDescription="Create a new document." ma:contentTypeScope="" ma:versionID="d8cb57e74b09bcdd78e07051bec0a5c6">
  <xsd:schema xmlns:xsd="http://www.w3.org/2001/XMLSchema" xmlns:xs="http://www.w3.org/2001/XMLSchema" xmlns:p="http://schemas.microsoft.com/office/2006/metadata/properties" xmlns:ns2="338c5a62-c766-4c1d-9499-6cfda948df69" targetNamespace="http://schemas.microsoft.com/office/2006/metadata/properties" ma:root="true" ma:fieldsID="a2cbb82d2c58359c3be0baba583c7cc1" ns2:_="">
    <xsd:import namespace="338c5a62-c766-4c1d-9499-6cfda948df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Billing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8c5a62-c766-4c1d-9499-6cfda948df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11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ADD4A1F-2AFD-42A8-A959-40AF59A2239D}">
  <ds:schemaRefs>
    <ds:schemaRef ds:uri="74ea036f-77cf-42d3-b3bb-e4c6ae8e0486"/>
    <ds:schemaRef ds:uri="7bc58ebf-4862-430f-815c-d1d6d9f54d5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C66A18F-5D2A-4799-9F8F-90793222BC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6E5E1E-B69A-404A-989D-77DAE8866E46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65</TotalTime>
  <Words>1215</Words>
  <Application>Microsoft Office PowerPoint</Application>
  <PresentationFormat>Widescreen</PresentationFormat>
  <Paragraphs>152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Calibri</vt:lpstr>
      <vt:lpstr>GT Pressura LCG Black</vt:lpstr>
      <vt:lpstr>Wingdings</vt:lpstr>
      <vt:lpstr>Arial</vt:lpstr>
      <vt:lpstr>Gilroy Medium</vt:lpstr>
      <vt:lpstr>Arial Narrow</vt:lpstr>
      <vt:lpstr>Office Theme</vt:lpstr>
      <vt:lpstr>1_Office Theme</vt:lpstr>
      <vt:lpstr>2_Office Theme</vt:lpstr>
      <vt:lpstr>think-cell Slide</vt:lpstr>
      <vt:lpstr>PowerPoint Presentation</vt:lpstr>
      <vt:lpstr>SUSTAINABLE SAMPLING EVENTS TOOLKIT</vt:lpstr>
      <vt:lpstr>SUSTAINABLE SAMPLING GUIDELINES</vt:lpstr>
      <vt:lpstr>PowerPoint Presentation</vt:lpstr>
      <vt:lpstr>SAMPLING CUP OPTIONS FOR EVENTS </vt:lpstr>
      <vt:lpstr>PowerPoint Presentation</vt:lpstr>
      <vt:lpstr>TO ORDER CEROBINS  (EVENT RECYCLING BINS)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anabe, Ken - Contractor {PEP}</dc:creator>
  <cp:lastModifiedBy>Popowski, Nicole {PEP}</cp:lastModifiedBy>
  <cp:revision>14</cp:revision>
  <dcterms:created xsi:type="dcterms:W3CDTF">2025-10-17T20:50:14Z</dcterms:created>
  <dcterms:modified xsi:type="dcterms:W3CDTF">2026-04-09T20:0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61366E4F15C84B88D51EE8B82FAF3A</vt:lpwstr>
  </property>
  <property fmtid="{D5CDD505-2E9C-101B-9397-08002B2CF9AE}" pid="3" name="_dlc_DocIdItemGuid">
    <vt:lpwstr>94652c8f-abd2-4216-8204-586f60d023cc</vt:lpwstr>
  </property>
  <property fmtid="{D5CDD505-2E9C-101B-9397-08002B2CF9AE}" pid="4" name="Access">
    <vt:lpwstr/>
  </property>
  <property fmtid="{D5CDD505-2E9C-101B-9397-08002B2CF9AE}" pid="5" name="MediaServiceImageTags">
    <vt:lpwstr/>
  </property>
  <property fmtid="{D5CDD505-2E9C-101B-9397-08002B2CF9AE}" pid="6" name="Order">
    <vt:lpwstr>134600.000000000</vt:lpwstr>
  </property>
  <property fmtid="{D5CDD505-2E9C-101B-9397-08002B2CF9AE}" pid="7" name="xd_ProgID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  <property fmtid="{D5CDD505-2E9C-101B-9397-08002B2CF9AE}" pid="12" name="_ExtendedDescription">
    <vt:lpwstr/>
  </property>
  <property fmtid="{D5CDD505-2E9C-101B-9397-08002B2CF9AE}" pid="13" name="TriggerFlowInfo">
    <vt:lpwstr/>
  </property>
  <property fmtid="{D5CDD505-2E9C-101B-9397-08002B2CF9AE}" pid="14" name="xd_Signature">
    <vt:lpwstr/>
  </property>
</Properties>
</file>